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304" r:id="rId6"/>
    <p:sldId id="272" r:id="rId7"/>
    <p:sldId id="270" r:id="rId8"/>
    <p:sldId id="278" r:id="rId9"/>
    <p:sldId id="305" r:id="rId10"/>
    <p:sldId id="267" r:id="rId11"/>
    <p:sldId id="269" r:id="rId12"/>
    <p:sldId id="268" r:id="rId13"/>
    <p:sldId id="289" r:id="rId14"/>
    <p:sldId id="274" r:id="rId15"/>
    <p:sldId id="303" r:id="rId16"/>
  </p:sldIdLst>
  <p:sldSz cx="12192000" cy="6858000"/>
  <p:notesSz cx="6858000" cy="9144000"/>
  <p:embeddedFontLst>
    <p:embeddedFont>
      <p:font typeface="Open Sans" pitchFamily="2" charset="0"/>
      <p:regular r:id="rId19"/>
      <p:bold r:id="rId20"/>
      <p:italic r:id="rId21"/>
      <p:boldItalic r:id="rId22"/>
    </p:embeddedFont>
    <p:embeddedFont>
      <p:font typeface="Titillium Web" panose="00000500000000000000" pitchFamily="2" charset="0"/>
      <p:regular r:id="rId23"/>
      <p:bold r:id="rId24"/>
      <p:italic r:id="rId25"/>
      <p:boldItalic r:id="rId26"/>
    </p:embeddedFont>
    <p:embeddedFont>
      <p:font typeface="Titillium Web Light" panose="00000400000000000000" pitchFamily="2" charset="0"/>
      <p:regular r:id="rId27"/>
      <p:italic r:id="rId28"/>
    </p:embeddedFont>
    <p:embeddedFont>
      <p:font typeface="Titillium Web SemiBold" panose="00000700000000000000" pitchFamily="2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BAAD"/>
    <a:srgbClr val="CB6F2E"/>
    <a:srgbClr val="F8F6F3"/>
    <a:srgbClr val="CB702E"/>
    <a:srgbClr val="D2A017"/>
    <a:srgbClr val="CBB2A0"/>
    <a:srgbClr val="FCC400"/>
    <a:srgbClr val="EEF8F4"/>
    <a:srgbClr val="8FC9B6"/>
    <a:srgbClr val="F26B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F0700D-77FD-47E2-88B2-92E4098C1B26}" v="4" dt="2025-10-22T22:46:32.7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945" autoAdjust="0"/>
    <p:restoredTop sz="94660"/>
  </p:normalViewPr>
  <p:slideViewPr>
    <p:cSldViewPr showGuides="1">
      <p:cViewPr varScale="1">
        <p:scale>
          <a:sx n="76" d="100"/>
          <a:sy n="76" d="100"/>
        </p:scale>
        <p:origin x="1286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9" Type="http://schemas.microsoft.com/office/2015/10/relationships/revisionInfo" Target="revisionInfo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rinde van Helden" userId="cc4bb688-c12e-4c28-8809-edc431747c1b" providerId="ADAL" clId="{44558B03-E3E0-4DC3-9D97-ACA66B790DA5}"/>
    <pc:docChg chg="addSld delSld modSld">
      <pc:chgData name="Dorinde van Helden" userId="cc4bb688-c12e-4c28-8809-edc431747c1b" providerId="ADAL" clId="{44558B03-E3E0-4DC3-9D97-ACA66B790DA5}" dt="2025-10-22T22:46:32.789" v="35" actId="14826"/>
      <pc:docMkLst>
        <pc:docMk/>
      </pc:docMkLst>
      <pc:sldChg chg="modSp">
        <pc:chgData name="Dorinde van Helden" userId="cc4bb688-c12e-4c28-8809-edc431747c1b" providerId="ADAL" clId="{44558B03-E3E0-4DC3-9D97-ACA66B790DA5}" dt="2025-10-22T22:45:28.230" v="33" actId="14826"/>
        <pc:sldMkLst>
          <pc:docMk/>
          <pc:sldMk cId="1071191312" sldId="256"/>
        </pc:sldMkLst>
        <pc:picChg chg="mod">
          <ac:chgData name="Dorinde van Helden" userId="cc4bb688-c12e-4c28-8809-edc431747c1b" providerId="ADAL" clId="{44558B03-E3E0-4DC3-9D97-ACA66B790DA5}" dt="2025-10-22T22:45:28.230" v="33" actId="14826"/>
          <ac:picMkLst>
            <pc:docMk/>
            <pc:sldMk cId="1071191312" sldId="256"/>
            <ac:picMk id="63" creationId="{9A5B9F94-D63A-C06C-7905-1DE7BC359671}"/>
          </ac:picMkLst>
        </pc:picChg>
      </pc:sldChg>
      <pc:sldChg chg="del">
        <pc:chgData name="Dorinde van Helden" userId="cc4bb688-c12e-4c28-8809-edc431747c1b" providerId="ADAL" clId="{44558B03-E3E0-4DC3-9D97-ACA66B790DA5}" dt="2025-10-22T22:30:21.643" v="30" actId="2696"/>
        <pc:sldMkLst>
          <pc:docMk/>
          <pc:sldMk cId="1807519864" sldId="271"/>
        </pc:sldMkLst>
      </pc:sldChg>
      <pc:sldChg chg="del">
        <pc:chgData name="Dorinde van Helden" userId="cc4bb688-c12e-4c28-8809-edc431747c1b" providerId="ADAL" clId="{44558B03-E3E0-4DC3-9D97-ACA66B790DA5}" dt="2025-10-22T22:20:46.693" v="11" actId="2696"/>
        <pc:sldMkLst>
          <pc:docMk/>
          <pc:sldMk cId="569420977" sldId="273"/>
        </pc:sldMkLst>
      </pc:sldChg>
      <pc:sldChg chg="del">
        <pc:chgData name="Dorinde van Helden" userId="cc4bb688-c12e-4c28-8809-edc431747c1b" providerId="ADAL" clId="{44558B03-E3E0-4DC3-9D97-ACA66B790DA5}" dt="2025-10-22T22:22:03.131" v="17" actId="2696"/>
        <pc:sldMkLst>
          <pc:docMk/>
          <pc:sldMk cId="1401633285" sldId="275"/>
        </pc:sldMkLst>
      </pc:sldChg>
      <pc:sldChg chg="del">
        <pc:chgData name="Dorinde van Helden" userId="cc4bb688-c12e-4c28-8809-edc431747c1b" providerId="ADAL" clId="{44558B03-E3E0-4DC3-9D97-ACA66B790DA5}" dt="2025-10-22T22:19:43.829" v="6" actId="2696"/>
        <pc:sldMkLst>
          <pc:docMk/>
          <pc:sldMk cId="923236357" sldId="276"/>
        </pc:sldMkLst>
      </pc:sldChg>
      <pc:sldChg chg="del">
        <pc:chgData name="Dorinde van Helden" userId="cc4bb688-c12e-4c28-8809-edc431747c1b" providerId="ADAL" clId="{44558B03-E3E0-4DC3-9D97-ACA66B790DA5}" dt="2025-10-22T22:30:01.487" v="29" actId="2696"/>
        <pc:sldMkLst>
          <pc:docMk/>
          <pc:sldMk cId="2709700002" sldId="277"/>
        </pc:sldMkLst>
      </pc:sldChg>
      <pc:sldChg chg="modSp">
        <pc:chgData name="Dorinde van Helden" userId="cc4bb688-c12e-4c28-8809-edc431747c1b" providerId="ADAL" clId="{44558B03-E3E0-4DC3-9D97-ACA66B790DA5}" dt="2025-10-22T22:46:32.789" v="35" actId="14826"/>
        <pc:sldMkLst>
          <pc:docMk/>
          <pc:sldMk cId="1619434791" sldId="278"/>
        </pc:sldMkLst>
        <pc:picChg chg="mod">
          <ac:chgData name="Dorinde van Helden" userId="cc4bb688-c12e-4c28-8809-edc431747c1b" providerId="ADAL" clId="{44558B03-E3E0-4DC3-9D97-ACA66B790DA5}" dt="2025-10-22T22:46:32.789" v="35" actId="14826"/>
          <ac:picMkLst>
            <pc:docMk/>
            <pc:sldMk cId="1619434791" sldId="278"/>
            <ac:picMk id="6" creationId="{833D5C66-6BF6-2084-6010-BD47506033CA}"/>
          </ac:picMkLst>
        </pc:picChg>
      </pc:sldChg>
      <pc:sldChg chg="del">
        <pc:chgData name="Dorinde van Helden" userId="cc4bb688-c12e-4c28-8809-edc431747c1b" providerId="ADAL" clId="{44558B03-E3E0-4DC3-9D97-ACA66B790DA5}" dt="2025-10-22T22:19:50.997" v="7" actId="2696"/>
        <pc:sldMkLst>
          <pc:docMk/>
          <pc:sldMk cId="2943664653" sldId="279"/>
        </pc:sldMkLst>
      </pc:sldChg>
      <pc:sldChg chg="del">
        <pc:chgData name="Dorinde van Helden" userId="cc4bb688-c12e-4c28-8809-edc431747c1b" providerId="ADAL" clId="{44558B03-E3E0-4DC3-9D97-ACA66B790DA5}" dt="2025-10-22T22:19:57.670" v="8" actId="2696"/>
        <pc:sldMkLst>
          <pc:docMk/>
          <pc:sldMk cId="3135645316" sldId="280"/>
        </pc:sldMkLst>
      </pc:sldChg>
      <pc:sldChg chg="del">
        <pc:chgData name="Dorinde van Helden" userId="cc4bb688-c12e-4c28-8809-edc431747c1b" providerId="ADAL" clId="{44558B03-E3E0-4DC3-9D97-ACA66B790DA5}" dt="2025-10-22T22:20:04.266" v="9" actId="2696"/>
        <pc:sldMkLst>
          <pc:docMk/>
          <pc:sldMk cId="863962704" sldId="281"/>
        </pc:sldMkLst>
      </pc:sldChg>
      <pc:sldChg chg="del">
        <pc:chgData name="Dorinde van Helden" userId="cc4bb688-c12e-4c28-8809-edc431747c1b" providerId="ADAL" clId="{44558B03-E3E0-4DC3-9D97-ACA66B790DA5}" dt="2025-10-22T22:20:32.740" v="10" actId="2696"/>
        <pc:sldMkLst>
          <pc:docMk/>
          <pc:sldMk cId="2833814195" sldId="282"/>
        </pc:sldMkLst>
      </pc:sldChg>
      <pc:sldChg chg="del">
        <pc:chgData name="Dorinde van Helden" userId="cc4bb688-c12e-4c28-8809-edc431747c1b" providerId="ADAL" clId="{44558B03-E3E0-4DC3-9D97-ACA66B790DA5}" dt="2025-10-22T22:20:57.990" v="12" actId="2696"/>
        <pc:sldMkLst>
          <pc:docMk/>
          <pc:sldMk cId="1349325549" sldId="283"/>
        </pc:sldMkLst>
      </pc:sldChg>
      <pc:sldChg chg="del">
        <pc:chgData name="Dorinde van Helden" userId="cc4bb688-c12e-4c28-8809-edc431747c1b" providerId="ADAL" clId="{44558B03-E3E0-4DC3-9D97-ACA66B790DA5}" dt="2025-10-22T22:21:09.051" v="13" actId="2696"/>
        <pc:sldMkLst>
          <pc:docMk/>
          <pc:sldMk cId="533663175" sldId="284"/>
        </pc:sldMkLst>
      </pc:sldChg>
      <pc:sldChg chg="del">
        <pc:chgData name="Dorinde van Helden" userId="cc4bb688-c12e-4c28-8809-edc431747c1b" providerId="ADAL" clId="{44558B03-E3E0-4DC3-9D97-ACA66B790DA5}" dt="2025-10-22T22:25:47.656" v="25" actId="2696"/>
        <pc:sldMkLst>
          <pc:docMk/>
          <pc:sldMk cId="2969713593" sldId="285"/>
        </pc:sldMkLst>
      </pc:sldChg>
      <pc:sldChg chg="del">
        <pc:chgData name="Dorinde van Helden" userId="cc4bb688-c12e-4c28-8809-edc431747c1b" providerId="ADAL" clId="{44558B03-E3E0-4DC3-9D97-ACA66B790DA5}" dt="2025-10-22T22:21:17.516" v="14" actId="2696"/>
        <pc:sldMkLst>
          <pc:docMk/>
          <pc:sldMk cId="1060403369" sldId="286"/>
        </pc:sldMkLst>
      </pc:sldChg>
      <pc:sldChg chg="del">
        <pc:chgData name="Dorinde van Helden" userId="cc4bb688-c12e-4c28-8809-edc431747c1b" providerId="ADAL" clId="{44558B03-E3E0-4DC3-9D97-ACA66B790DA5}" dt="2025-10-22T22:21:45.325" v="16" actId="2696"/>
        <pc:sldMkLst>
          <pc:docMk/>
          <pc:sldMk cId="447382552" sldId="287"/>
        </pc:sldMkLst>
      </pc:sldChg>
      <pc:sldChg chg="del">
        <pc:chgData name="Dorinde van Helden" userId="cc4bb688-c12e-4c28-8809-edc431747c1b" providerId="ADAL" clId="{44558B03-E3E0-4DC3-9D97-ACA66B790DA5}" dt="2025-10-22T22:21:32.321" v="15" actId="2696"/>
        <pc:sldMkLst>
          <pc:docMk/>
          <pc:sldMk cId="3427950688" sldId="288"/>
        </pc:sldMkLst>
      </pc:sldChg>
      <pc:sldChg chg="del">
        <pc:chgData name="Dorinde van Helden" userId="cc4bb688-c12e-4c28-8809-edc431747c1b" providerId="ADAL" clId="{44558B03-E3E0-4DC3-9D97-ACA66B790DA5}" dt="2025-10-22T22:18:25.696" v="2" actId="2696"/>
        <pc:sldMkLst>
          <pc:docMk/>
          <pc:sldMk cId="2824529521" sldId="290"/>
        </pc:sldMkLst>
      </pc:sldChg>
      <pc:sldChg chg="del">
        <pc:chgData name="Dorinde van Helden" userId="cc4bb688-c12e-4c28-8809-edc431747c1b" providerId="ADAL" clId="{44558B03-E3E0-4DC3-9D97-ACA66B790DA5}" dt="2025-10-22T22:28:46.481" v="28" actId="2696"/>
        <pc:sldMkLst>
          <pc:docMk/>
          <pc:sldMk cId="280152334" sldId="291"/>
        </pc:sldMkLst>
      </pc:sldChg>
      <pc:sldChg chg="del">
        <pc:chgData name="Dorinde van Helden" userId="cc4bb688-c12e-4c28-8809-edc431747c1b" providerId="ADAL" clId="{44558B03-E3E0-4DC3-9D97-ACA66B790DA5}" dt="2025-10-22T22:18:59.788" v="4" actId="2696"/>
        <pc:sldMkLst>
          <pc:docMk/>
          <pc:sldMk cId="4062549632" sldId="292"/>
        </pc:sldMkLst>
      </pc:sldChg>
      <pc:sldChg chg="del">
        <pc:chgData name="Dorinde van Helden" userId="cc4bb688-c12e-4c28-8809-edc431747c1b" providerId="ADAL" clId="{44558B03-E3E0-4DC3-9D97-ACA66B790DA5}" dt="2025-10-22T22:18:03.449" v="1" actId="2696"/>
        <pc:sldMkLst>
          <pc:docMk/>
          <pc:sldMk cId="2617864410" sldId="293"/>
        </pc:sldMkLst>
      </pc:sldChg>
      <pc:sldChg chg="del">
        <pc:chgData name="Dorinde van Helden" userId="cc4bb688-c12e-4c28-8809-edc431747c1b" providerId="ADAL" clId="{44558B03-E3E0-4DC3-9D97-ACA66B790DA5}" dt="2025-10-22T22:28:37.549" v="27" actId="2696"/>
        <pc:sldMkLst>
          <pc:docMk/>
          <pc:sldMk cId="1982447850" sldId="294"/>
        </pc:sldMkLst>
      </pc:sldChg>
      <pc:sldChg chg="del">
        <pc:chgData name="Dorinde van Helden" userId="cc4bb688-c12e-4c28-8809-edc431747c1b" providerId="ADAL" clId="{44558B03-E3E0-4DC3-9D97-ACA66B790DA5}" dt="2025-10-22T22:31:10.248" v="31" actId="2696"/>
        <pc:sldMkLst>
          <pc:docMk/>
          <pc:sldMk cId="3338956051" sldId="295"/>
        </pc:sldMkLst>
      </pc:sldChg>
      <pc:sldChg chg="del">
        <pc:chgData name="Dorinde van Helden" userId="cc4bb688-c12e-4c28-8809-edc431747c1b" providerId="ADAL" clId="{44558B03-E3E0-4DC3-9D97-ACA66B790DA5}" dt="2025-10-22T22:17:50.147" v="0" actId="2696"/>
        <pc:sldMkLst>
          <pc:docMk/>
          <pc:sldMk cId="4070152416" sldId="296"/>
        </pc:sldMkLst>
      </pc:sldChg>
      <pc:sldChg chg="del">
        <pc:chgData name="Dorinde van Helden" userId="cc4bb688-c12e-4c28-8809-edc431747c1b" providerId="ADAL" clId="{44558B03-E3E0-4DC3-9D97-ACA66B790DA5}" dt="2025-10-22T22:22:09.709" v="18" actId="2696"/>
        <pc:sldMkLst>
          <pc:docMk/>
          <pc:sldMk cId="1334985403" sldId="297"/>
        </pc:sldMkLst>
      </pc:sldChg>
      <pc:sldChg chg="del">
        <pc:chgData name="Dorinde van Helden" userId="cc4bb688-c12e-4c28-8809-edc431747c1b" providerId="ADAL" clId="{44558B03-E3E0-4DC3-9D97-ACA66B790DA5}" dt="2025-10-22T22:23:13.549" v="23" actId="2696"/>
        <pc:sldMkLst>
          <pc:docMk/>
          <pc:sldMk cId="2507154427" sldId="298"/>
        </pc:sldMkLst>
      </pc:sldChg>
      <pc:sldChg chg="del">
        <pc:chgData name="Dorinde van Helden" userId="cc4bb688-c12e-4c28-8809-edc431747c1b" providerId="ADAL" clId="{44558B03-E3E0-4DC3-9D97-ACA66B790DA5}" dt="2025-10-22T22:22:26.782" v="19" actId="2696"/>
        <pc:sldMkLst>
          <pc:docMk/>
          <pc:sldMk cId="702959105" sldId="299"/>
        </pc:sldMkLst>
      </pc:sldChg>
      <pc:sldChg chg="del">
        <pc:chgData name="Dorinde van Helden" userId="cc4bb688-c12e-4c28-8809-edc431747c1b" providerId="ADAL" clId="{44558B03-E3E0-4DC3-9D97-ACA66B790DA5}" dt="2025-10-22T22:23:00.782" v="22" actId="2696"/>
        <pc:sldMkLst>
          <pc:docMk/>
          <pc:sldMk cId="3889023657" sldId="300"/>
        </pc:sldMkLst>
      </pc:sldChg>
      <pc:sldChg chg="del">
        <pc:chgData name="Dorinde van Helden" userId="cc4bb688-c12e-4c28-8809-edc431747c1b" providerId="ADAL" clId="{44558B03-E3E0-4DC3-9D97-ACA66B790DA5}" dt="2025-10-22T22:22:43.761" v="20" actId="2696"/>
        <pc:sldMkLst>
          <pc:docMk/>
          <pc:sldMk cId="943589899" sldId="301"/>
        </pc:sldMkLst>
      </pc:sldChg>
      <pc:sldChg chg="del">
        <pc:chgData name="Dorinde van Helden" userId="cc4bb688-c12e-4c28-8809-edc431747c1b" providerId="ADAL" clId="{44558B03-E3E0-4DC3-9D97-ACA66B790DA5}" dt="2025-10-22T22:22:48.640" v="21" actId="2696"/>
        <pc:sldMkLst>
          <pc:docMk/>
          <pc:sldMk cId="873858228" sldId="302"/>
        </pc:sldMkLst>
      </pc:sldChg>
      <pc:sldChg chg="modSp">
        <pc:chgData name="Dorinde van Helden" userId="cc4bb688-c12e-4c28-8809-edc431747c1b" providerId="ADAL" clId="{44558B03-E3E0-4DC3-9D97-ACA66B790DA5}" dt="2025-10-22T22:25:14.244" v="24" actId="14826"/>
        <pc:sldMkLst>
          <pc:docMk/>
          <pc:sldMk cId="1943214696" sldId="303"/>
        </pc:sldMkLst>
        <pc:picChg chg="mod">
          <ac:chgData name="Dorinde van Helden" userId="cc4bb688-c12e-4c28-8809-edc431747c1b" providerId="ADAL" clId="{44558B03-E3E0-4DC3-9D97-ACA66B790DA5}" dt="2025-10-22T22:25:14.244" v="24" actId="14826"/>
          <ac:picMkLst>
            <pc:docMk/>
            <pc:sldMk cId="1943214696" sldId="303"/>
            <ac:picMk id="4" creationId="{E71122A4-DBDE-B74E-DC67-CD8FE8E59C60}"/>
          </ac:picMkLst>
        </pc:picChg>
      </pc:sldChg>
      <pc:sldChg chg="add">
        <pc:chgData name="Dorinde van Helden" userId="cc4bb688-c12e-4c28-8809-edc431747c1b" providerId="ADAL" clId="{44558B03-E3E0-4DC3-9D97-ACA66B790DA5}" dt="2025-10-22T22:45:03.332" v="32" actId="2890"/>
        <pc:sldMkLst>
          <pc:docMk/>
          <pc:sldMk cId="1710996817" sldId="304"/>
        </pc:sldMkLst>
      </pc:sldChg>
      <pc:sldChg chg="add del">
        <pc:chgData name="Dorinde van Helden" userId="cc4bb688-c12e-4c28-8809-edc431747c1b" providerId="ADAL" clId="{44558B03-E3E0-4DC3-9D97-ACA66B790DA5}" dt="2025-10-22T22:19:09.157" v="5" actId="2696"/>
        <pc:sldMkLst>
          <pc:docMk/>
          <pc:sldMk cId="3916957982" sldId="304"/>
        </pc:sldMkLst>
      </pc:sldChg>
      <pc:sldChg chg="add">
        <pc:chgData name="Dorinde van Helden" userId="cc4bb688-c12e-4c28-8809-edc431747c1b" providerId="ADAL" clId="{44558B03-E3E0-4DC3-9D97-ACA66B790DA5}" dt="2025-10-22T22:46:12.875" v="34" actId="2890"/>
        <pc:sldMkLst>
          <pc:docMk/>
          <pc:sldMk cId="2735743547" sldId="30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D1136D9D-6572-4ACD-BB9D-F92AD08439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E6E5FB0-F23E-4E3E-B896-31CD3D733A5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4A1076-864F-4DAD-89CE-9513822757E2}" type="datetimeFigureOut">
              <a:rPr lang="nl-NL" smtClean="0"/>
              <a:t>23-10-2025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3E9956F-CC5A-414E-8A48-0A50A91175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EF02329-4F7C-4008-8D47-CA9D73E7AE8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730BCC-130E-4111-948F-1C9B870887F1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030709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98DE4A-C436-4AFC-919F-B2D9586F0343}" type="datetimeFigureOut">
              <a:rPr lang="nl-NL" smtClean="0"/>
              <a:t>23-10-2025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595519-30CD-48D2-BC4A-E680034B6609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8736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03D80FA-49F8-49B8-9461-443CBEE70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CFA82-4C31-41F6-BABA-E71CA146A899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3FCD9AD-590F-4B22-9675-50090C413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19FCAA9-F699-47A5-B713-B5F122BAA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Afbeelding">
            <a:extLst>
              <a:ext uri="{FF2B5EF4-FFF2-40B4-BE49-F238E27FC236}">
                <a16:creationId xmlns:a16="http://schemas.microsoft.com/office/drawing/2014/main" id="{F356A829-D54A-2AFC-D20F-D14F7C92CA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35760" y="0"/>
            <a:ext cx="8424936" cy="6857615"/>
          </a:xfrm>
          <a:custGeom>
            <a:avLst/>
            <a:gdLst>
              <a:gd name="connsiteX0" fmla="*/ 1363656 w 8424936"/>
              <a:gd name="connsiteY0" fmla="*/ 0 h 6857615"/>
              <a:gd name="connsiteX1" fmla="*/ 8256240 w 8424936"/>
              <a:gd name="connsiteY1" fmla="*/ 0 h 6857615"/>
              <a:gd name="connsiteX2" fmla="*/ 8256240 w 8424936"/>
              <a:gd name="connsiteY2" fmla="*/ 2160973 h 6857615"/>
              <a:gd name="connsiteX3" fmla="*/ 8284357 w 8424936"/>
              <a:gd name="connsiteY3" fmla="*/ 2132856 h 6857615"/>
              <a:gd name="connsiteX4" fmla="*/ 8396819 w 8424936"/>
              <a:gd name="connsiteY4" fmla="*/ 2132856 h 6857615"/>
              <a:gd name="connsiteX5" fmla="*/ 8424936 w 8424936"/>
              <a:gd name="connsiteY5" fmla="*/ 2160973 h 6857615"/>
              <a:gd name="connsiteX6" fmla="*/ 8424936 w 8424936"/>
              <a:gd name="connsiteY6" fmla="*/ 3068960 h 6857615"/>
              <a:gd name="connsiteX7" fmla="*/ 8256240 w 8424936"/>
              <a:gd name="connsiteY7" fmla="*/ 3068960 h 6857615"/>
              <a:gd name="connsiteX8" fmla="*/ 8256240 w 8424936"/>
              <a:gd name="connsiteY8" fmla="*/ 6857615 h 6857615"/>
              <a:gd name="connsiteX9" fmla="*/ 0 w 8424936"/>
              <a:gd name="connsiteY9" fmla="*/ 6857615 h 6857615"/>
              <a:gd name="connsiteX10" fmla="*/ 0 w 8424936"/>
              <a:gd name="connsiteY10" fmla="*/ 6857519 h 6857615"/>
              <a:gd name="connsiteX11" fmla="*/ 153752 w 8424936"/>
              <a:gd name="connsiteY11" fmla="*/ 6857519 h 6857615"/>
              <a:gd name="connsiteX12" fmla="*/ 1654873 w 8424936"/>
              <a:gd name="connsiteY12" fmla="*/ 5854289 h 6857615"/>
              <a:gd name="connsiteX13" fmla="*/ 963314 w 8424936"/>
              <a:gd name="connsiteY13" fmla="*/ 3929755 h 6857615"/>
              <a:gd name="connsiteX14" fmla="*/ 869523 w 8424936"/>
              <a:gd name="connsiteY14" fmla="*/ 3673348 h 6857615"/>
              <a:gd name="connsiteX15" fmla="*/ 842130 w 8424936"/>
              <a:gd name="connsiteY15" fmla="*/ 3606546 h 6857615"/>
              <a:gd name="connsiteX16" fmla="*/ 979927 w 8424936"/>
              <a:gd name="connsiteY16" fmla="*/ 3152207 h 6857615"/>
              <a:gd name="connsiteX17" fmla="*/ 1308551 w 8424936"/>
              <a:gd name="connsiteY17" fmla="*/ 2207574 h 6857615"/>
              <a:gd name="connsiteX18" fmla="*/ 1642072 w 8424936"/>
              <a:gd name="connsiteY18" fmla="*/ 1273499 h 6857615"/>
              <a:gd name="connsiteX19" fmla="*/ 1794563 w 8424936"/>
              <a:gd name="connsiteY19" fmla="*/ 850840 h 6857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424936" h="6857615">
                <a:moveTo>
                  <a:pt x="1363656" y="0"/>
                </a:moveTo>
                <a:lnTo>
                  <a:pt x="8256240" y="0"/>
                </a:lnTo>
                <a:lnTo>
                  <a:pt x="8256240" y="2160973"/>
                </a:lnTo>
                <a:cubicBezTo>
                  <a:pt x="8256240" y="2145444"/>
                  <a:pt x="8268828" y="2132856"/>
                  <a:pt x="8284357" y="2132856"/>
                </a:cubicBezTo>
                <a:lnTo>
                  <a:pt x="8396819" y="2132856"/>
                </a:lnTo>
                <a:cubicBezTo>
                  <a:pt x="8412348" y="2132856"/>
                  <a:pt x="8424936" y="2145444"/>
                  <a:pt x="8424936" y="2160973"/>
                </a:cubicBezTo>
                <a:lnTo>
                  <a:pt x="8424936" y="3068960"/>
                </a:lnTo>
                <a:lnTo>
                  <a:pt x="8256240" y="3068960"/>
                </a:lnTo>
                <a:lnTo>
                  <a:pt x="8256240" y="6857615"/>
                </a:lnTo>
                <a:lnTo>
                  <a:pt x="0" y="6857615"/>
                </a:lnTo>
                <a:lnTo>
                  <a:pt x="0" y="6857519"/>
                </a:lnTo>
                <a:lnTo>
                  <a:pt x="153752" y="6857519"/>
                </a:lnTo>
                <a:lnTo>
                  <a:pt x="1654873" y="5854289"/>
                </a:lnTo>
                <a:lnTo>
                  <a:pt x="963314" y="3929755"/>
                </a:lnTo>
                <a:lnTo>
                  <a:pt x="869523" y="3673348"/>
                </a:lnTo>
                <a:lnTo>
                  <a:pt x="842130" y="3606546"/>
                </a:lnTo>
                <a:lnTo>
                  <a:pt x="979927" y="3152207"/>
                </a:lnTo>
                <a:lnTo>
                  <a:pt x="1308551" y="2207574"/>
                </a:lnTo>
                <a:lnTo>
                  <a:pt x="1642072" y="1273499"/>
                </a:lnTo>
                <a:lnTo>
                  <a:pt x="1794563" y="8508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ym typeface="Wingdings" panose="05000000000000000000" pitchFamily="2" charset="2"/>
              </a:defRPr>
            </a:lvl1pPr>
          </a:lstStyle>
          <a:p>
            <a:r>
              <a:rPr lang="nl-NL" dirty="0"/>
              <a:t>Klik op het “tabje” rechts om de foto te selecteren 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2BEE212E-A32F-4EC1-A81C-3437045BFC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81" y="6126655"/>
            <a:ext cx="4388198" cy="133997"/>
          </a:xfrm>
        </p:spPr>
        <p:txBody>
          <a:bodyPr vert="horz" wrap="square" lIns="0" tIns="10781" rIns="0" bIns="0" rtlCol="0" anchor="ctr">
            <a:spAutoFit/>
          </a:bodyPr>
          <a:lstStyle>
            <a:lvl1pPr marL="0" indent="0">
              <a:lnSpc>
                <a:spcPct val="100000"/>
              </a:lnSpc>
              <a:buNone/>
              <a:defRPr lang="nl-NL" sz="800" dirty="0">
                <a:solidFill>
                  <a:srgbClr val="CB702E"/>
                </a:solidFill>
                <a:latin typeface="Titillium Web Light"/>
                <a:cs typeface="Titillium Web Light"/>
              </a:defRPr>
            </a:lvl1pPr>
          </a:lstStyle>
          <a:p>
            <a:pPr marL="7701" lvl="0">
              <a:spcBef>
                <a:spcPts val="85"/>
              </a:spcBef>
            </a:pPr>
            <a:r>
              <a:rPr lang="nl-NL" dirty="0"/>
              <a:t>Versie / dat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ACED028-F41E-4761-9A2C-023794307A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82" y="3429000"/>
            <a:ext cx="4388198" cy="1342128"/>
          </a:xfrm>
        </p:spPr>
        <p:txBody>
          <a:bodyPr anchor="b"/>
          <a:lstStyle>
            <a:lvl1pPr algn="l">
              <a:defRPr lang="nl-NL" sz="4300" b="0" i="0" spc="36" dirty="0">
                <a:solidFill>
                  <a:schemeClr val="tx1"/>
                </a:solidFill>
                <a:latin typeface="Titillium Web"/>
                <a:ea typeface="+mj-ea"/>
                <a:cs typeface="Titillium Web"/>
              </a:defRPr>
            </a:lvl1pPr>
          </a:lstStyle>
          <a:p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03192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 xmlns:asvg="http://schemas.microsoft.com/office/drawing/2016/SVG/main" xmlns:a16="http://schemas.microsoft.com/office/drawing/2014/main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9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beeld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3241D4E7-F5A2-3989-D785-89C1A8320A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360696" cy="6858000"/>
          </a:xfrm>
          <a:custGeom>
            <a:avLst/>
            <a:gdLst>
              <a:gd name="connsiteX0" fmla="*/ 0 w 12360696"/>
              <a:gd name="connsiteY0" fmla="*/ 0 h 6858000"/>
              <a:gd name="connsiteX1" fmla="*/ 5299417 w 12360696"/>
              <a:gd name="connsiteY1" fmla="*/ 0 h 6858000"/>
              <a:gd name="connsiteX2" fmla="*/ 6311900 w 12360696"/>
              <a:gd name="connsiteY2" fmla="*/ 0 h 6858000"/>
              <a:gd name="connsiteX3" fmla="*/ 12192000 w 12360696"/>
              <a:gd name="connsiteY3" fmla="*/ 0 h 6858000"/>
              <a:gd name="connsiteX4" fmla="*/ 12192000 w 12360696"/>
              <a:gd name="connsiteY4" fmla="*/ 2160973 h 6858000"/>
              <a:gd name="connsiteX5" fmla="*/ 12220117 w 12360696"/>
              <a:gd name="connsiteY5" fmla="*/ 2132856 h 6858000"/>
              <a:gd name="connsiteX6" fmla="*/ 12332579 w 12360696"/>
              <a:gd name="connsiteY6" fmla="*/ 2132856 h 6858000"/>
              <a:gd name="connsiteX7" fmla="*/ 12360696 w 12360696"/>
              <a:gd name="connsiteY7" fmla="*/ 2160973 h 6858000"/>
              <a:gd name="connsiteX8" fmla="*/ 12360696 w 12360696"/>
              <a:gd name="connsiteY8" fmla="*/ 3068960 h 6858000"/>
              <a:gd name="connsiteX9" fmla="*/ 12192000 w 12360696"/>
              <a:gd name="connsiteY9" fmla="*/ 3068960 h 6858000"/>
              <a:gd name="connsiteX10" fmla="*/ 12192000 w 12360696"/>
              <a:gd name="connsiteY10" fmla="*/ 6857615 h 6858000"/>
              <a:gd name="connsiteX11" fmla="*/ 6311900 w 12360696"/>
              <a:gd name="connsiteY11" fmla="*/ 6857615 h 6858000"/>
              <a:gd name="connsiteX12" fmla="*/ 6311900 w 12360696"/>
              <a:gd name="connsiteY12" fmla="*/ 6858000 h 6858000"/>
              <a:gd name="connsiteX13" fmla="*/ 0 w 12360696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360696" h="6858000">
                <a:moveTo>
                  <a:pt x="0" y="0"/>
                </a:moveTo>
                <a:lnTo>
                  <a:pt x="5299417" y="0"/>
                </a:lnTo>
                <a:lnTo>
                  <a:pt x="6311900" y="0"/>
                </a:lnTo>
                <a:lnTo>
                  <a:pt x="12192000" y="0"/>
                </a:lnTo>
                <a:lnTo>
                  <a:pt x="12192000" y="2160973"/>
                </a:lnTo>
                <a:cubicBezTo>
                  <a:pt x="12192000" y="2145444"/>
                  <a:pt x="12204588" y="2132856"/>
                  <a:pt x="12220117" y="2132856"/>
                </a:cubicBezTo>
                <a:lnTo>
                  <a:pt x="12332579" y="2132856"/>
                </a:lnTo>
                <a:cubicBezTo>
                  <a:pt x="12348108" y="2132856"/>
                  <a:pt x="12360696" y="2145444"/>
                  <a:pt x="12360696" y="2160973"/>
                </a:cubicBezTo>
                <a:lnTo>
                  <a:pt x="12360696" y="3068960"/>
                </a:lnTo>
                <a:lnTo>
                  <a:pt x="12192000" y="3068960"/>
                </a:lnTo>
                <a:lnTo>
                  <a:pt x="12192000" y="6857615"/>
                </a:lnTo>
                <a:lnTo>
                  <a:pt x="6311900" y="6857615"/>
                </a:lnTo>
                <a:lnTo>
                  <a:pt x="63119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ym typeface="Wingdings" panose="05000000000000000000" pitchFamily="2" charset="2"/>
              </a:defRPr>
            </a:lvl1pPr>
          </a:lstStyle>
          <a:p>
            <a:r>
              <a:rPr lang="nl-NL" dirty="0"/>
              <a:t>Klik op het “tabje” rechts om de foto te selecteren 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4CEDA0D9-B80F-B229-FC40-1CDC3F2499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4" y="-10490"/>
            <a:ext cx="8208912" cy="3205127"/>
          </a:xfrm>
          <a:prstGeom prst="rect">
            <a:avLst/>
          </a:prstGeom>
        </p:spPr>
      </p:pic>
      <p:pic>
        <p:nvPicPr>
          <p:cNvPr id="5" name="Afbeelding 4" descr="Afbeelding met Graphics, wit, grafische vormgeving, ontwerp&#10;&#10;Door AI gegenereerde inhoud is mogelijk onjuist.">
            <a:extLst>
              <a:ext uri="{FF2B5EF4-FFF2-40B4-BE49-F238E27FC236}">
                <a16:creationId xmlns:a16="http://schemas.microsoft.com/office/drawing/2014/main" id="{1FB83B3B-3E52-1CFD-AE04-536D84CA92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8856" y="4293096"/>
            <a:ext cx="8262177" cy="3225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34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svg="http://schemas.microsoft.com/office/drawing/2016/SVG/main" xmlns:a16="http://schemas.microsoft.com/office/drawing/2014/main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49A8561-84D0-49DE-803F-B26B0349C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8C619-5876-439D-9AC2-2F4B822EA274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8A2AA7A-9401-48FA-B9C8-47E27C32B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64148E0-EA5F-4E02-946C-12DBFE1F2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6" name="Tijdelijke aanduiding voor tekst 8">
            <a:extLst>
              <a:ext uri="{FF2B5EF4-FFF2-40B4-BE49-F238E27FC236}">
                <a16:creationId xmlns:a16="http://schemas.microsoft.com/office/drawing/2014/main" id="{02C1A4BD-E918-4A55-9051-20C92BD452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1231265"/>
            <a:ext cx="10938478" cy="474876"/>
          </a:xfrm>
        </p:spPr>
        <p:txBody>
          <a:bodyPr/>
          <a:lstStyle>
            <a:lvl1pPr marL="0" indent="0">
              <a:buNone/>
              <a:defRPr lang="nl-NL" sz="2200" b="1" kern="1200" cap="none" spc="21" baseline="0" smtClean="0">
                <a:solidFill>
                  <a:schemeClr val="tx1"/>
                </a:solidFill>
                <a:latin typeface="+mj-lt"/>
                <a:ea typeface="+mn-ea"/>
                <a:cs typeface="Titillium Web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6C3C281-02DE-A7E2-F91E-E96EFCC3C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3475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942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 descr="Afbeelding met Graphics, wit, grafische vormgeving, ontwerp&#10;&#10;Door AI gegenereerde inhoud is mogelijk onjuist.">
            <a:extLst>
              <a:ext uri="{FF2B5EF4-FFF2-40B4-BE49-F238E27FC236}">
                <a16:creationId xmlns:a16="http://schemas.microsoft.com/office/drawing/2014/main" id="{22D486E8-0C71-728E-5ABE-C6C6A10155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96952"/>
            <a:ext cx="12257257" cy="4785782"/>
          </a:xfrm>
          <a:prstGeom prst="rect">
            <a:avLst/>
          </a:prstGeom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9F667A6-C074-46B8-85A4-0AF379F0F5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1231265"/>
            <a:ext cx="10938655" cy="474876"/>
          </a:xfrm>
        </p:spPr>
        <p:txBody>
          <a:bodyPr/>
          <a:lstStyle>
            <a:lvl1pPr marL="0" indent="0">
              <a:buNone/>
              <a:defRPr lang="nl-NL" sz="2200" b="1" kern="1200" cap="none" spc="21" baseline="0" smtClean="0">
                <a:solidFill>
                  <a:schemeClr val="tx1"/>
                </a:solidFill>
                <a:latin typeface="+mj-lt"/>
                <a:ea typeface="+mn-ea"/>
                <a:cs typeface="Titillium Web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9689A2B7-AD9B-495F-B753-A4C8CCEBC6F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B49DF6-6064-40C6-BB96-869F18CAAAF2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11" name="Tijdelijke aanduiding voor voettekst 10">
            <a:extLst>
              <a:ext uri="{FF2B5EF4-FFF2-40B4-BE49-F238E27FC236}">
                <a16:creationId xmlns:a16="http://schemas.microsoft.com/office/drawing/2014/main" id="{45C543B5-0815-4D39-83E8-70D339CE0C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nl-NL" dirty="0"/>
          </a:p>
        </p:txBody>
      </p:sp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EA4DF22E-BCE8-44DD-B920-C3AC59CD4E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4" name="Tijdelijke aanduiding voor inhoud 6">
            <a:extLst>
              <a:ext uri="{FF2B5EF4-FFF2-40B4-BE49-F238E27FC236}">
                <a16:creationId xmlns:a16="http://schemas.microsoft.com/office/drawing/2014/main" id="{22A24490-1C24-8C57-61BC-E3A00B10A47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5027" y="1844675"/>
            <a:ext cx="5244740" cy="3096493"/>
          </a:xfrm>
          <a:custGeom>
            <a:avLst/>
            <a:gdLst>
              <a:gd name="connsiteX0" fmla="*/ 63664 w 5244740"/>
              <a:gd name="connsiteY0" fmla="*/ 0 h 3744913"/>
              <a:gd name="connsiteX1" fmla="*/ 5181076 w 5244740"/>
              <a:gd name="connsiteY1" fmla="*/ 0 h 3744913"/>
              <a:gd name="connsiteX2" fmla="*/ 5244740 w 5244740"/>
              <a:gd name="connsiteY2" fmla="*/ 63664 h 3744913"/>
              <a:gd name="connsiteX3" fmla="*/ 5244740 w 5244740"/>
              <a:gd name="connsiteY3" fmla="*/ 3681249 h 3744913"/>
              <a:gd name="connsiteX4" fmla="*/ 5181076 w 5244740"/>
              <a:gd name="connsiteY4" fmla="*/ 3744913 h 3744913"/>
              <a:gd name="connsiteX5" fmla="*/ 63664 w 5244740"/>
              <a:gd name="connsiteY5" fmla="*/ 3744913 h 3744913"/>
              <a:gd name="connsiteX6" fmla="*/ 0 w 5244740"/>
              <a:gd name="connsiteY6" fmla="*/ 3681249 h 3744913"/>
              <a:gd name="connsiteX7" fmla="*/ 0 w 5244740"/>
              <a:gd name="connsiteY7" fmla="*/ 63664 h 3744913"/>
              <a:gd name="connsiteX8" fmla="*/ 63664 w 5244740"/>
              <a:gd name="connsiteY8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44740" h="3744913">
                <a:moveTo>
                  <a:pt x="63664" y="0"/>
                </a:moveTo>
                <a:lnTo>
                  <a:pt x="5181076" y="0"/>
                </a:lnTo>
                <a:cubicBezTo>
                  <a:pt x="5216237" y="0"/>
                  <a:pt x="5244740" y="28503"/>
                  <a:pt x="5244740" y="63664"/>
                </a:cubicBezTo>
                <a:lnTo>
                  <a:pt x="5244740" y="3681249"/>
                </a:lnTo>
                <a:cubicBezTo>
                  <a:pt x="5244740" y="3716410"/>
                  <a:pt x="5216237" y="3744913"/>
                  <a:pt x="5181076" y="3744913"/>
                </a:cubicBezTo>
                <a:lnTo>
                  <a:pt x="63664" y="3744913"/>
                </a:lnTo>
                <a:cubicBezTo>
                  <a:pt x="28503" y="3744913"/>
                  <a:pt x="0" y="3716410"/>
                  <a:pt x="0" y="3681249"/>
                </a:cubicBezTo>
                <a:lnTo>
                  <a:pt x="0" y="63664"/>
                </a:lnTo>
                <a:cubicBezTo>
                  <a:pt x="0" y="28503"/>
                  <a:pt x="28503" y="0"/>
                  <a:pt x="63664" y="0"/>
                </a:cubicBezTo>
                <a:close/>
              </a:path>
            </a:pathLst>
          </a:custGeom>
          <a:solidFill>
            <a:srgbClr val="F8F6F3"/>
          </a:solidFill>
        </p:spPr>
        <p:txBody>
          <a:bodyPr wrap="square" lIns="216000" tIns="216000" rIns="216000" bIns="216000">
            <a:noAutofit/>
          </a:bodyPr>
          <a:lstStyle>
            <a:lvl1pPr marL="342900" indent="-3429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lang="nl-NL" sz="1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1600"/>
              </a:spcBef>
              <a:spcAft>
                <a:spcPts val="1600"/>
              </a:spcAft>
              <a:buNone/>
              <a:defRPr/>
            </a:lvl2pPr>
            <a:lvl3pPr marL="180975" indent="-180975">
              <a:spcBef>
                <a:spcPts val="400"/>
              </a:spcBef>
              <a:spcAft>
                <a:spcPts val="0"/>
              </a:spcAft>
              <a:defRPr/>
            </a:lvl3pPr>
            <a:lvl4pPr marL="180975" indent="-180975">
              <a:spcBef>
                <a:spcPts val="400"/>
              </a:spcBef>
              <a:spcAft>
                <a:spcPts val="800"/>
              </a:spcAft>
              <a:defRPr/>
            </a:lvl4pPr>
            <a:lvl5pPr marL="180975" indent="-180975">
              <a:spcBef>
                <a:spcPts val="400"/>
              </a:spcBef>
              <a:spcAft>
                <a:spcPts val="800"/>
              </a:spcAft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2"/>
            <a:endParaRPr lang="nl-NL" dirty="0"/>
          </a:p>
        </p:txBody>
      </p:sp>
      <p:sp>
        <p:nvSpPr>
          <p:cNvPr id="5" name="Tijdelijke aanduiding voor inhoud 6">
            <a:extLst>
              <a:ext uri="{FF2B5EF4-FFF2-40B4-BE49-F238E27FC236}">
                <a16:creationId xmlns:a16="http://schemas.microsoft.com/office/drawing/2014/main" id="{E6D75D3B-FB8D-952F-B29F-9B6B47C4212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11925" y="1844675"/>
            <a:ext cx="5244740" cy="3096493"/>
          </a:xfrm>
          <a:custGeom>
            <a:avLst/>
            <a:gdLst>
              <a:gd name="connsiteX0" fmla="*/ 63664 w 5244740"/>
              <a:gd name="connsiteY0" fmla="*/ 0 h 3744913"/>
              <a:gd name="connsiteX1" fmla="*/ 5181076 w 5244740"/>
              <a:gd name="connsiteY1" fmla="*/ 0 h 3744913"/>
              <a:gd name="connsiteX2" fmla="*/ 5244740 w 5244740"/>
              <a:gd name="connsiteY2" fmla="*/ 63664 h 3744913"/>
              <a:gd name="connsiteX3" fmla="*/ 5244740 w 5244740"/>
              <a:gd name="connsiteY3" fmla="*/ 3681249 h 3744913"/>
              <a:gd name="connsiteX4" fmla="*/ 5181076 w 5244740"/>
              <a:gd name="connsiteY4" fmla="*/ 3744913 h 3744913"/>
              <a:gd name="connsiteX5" fmla="*/ 63664 w 5244740"/>
              <a:gd name="connsiteY5" fmla="*/ 3744913 h 3744913"/>
              <a:gd name="connsiteX6" fmla="*/ 0 w 5244740"/>
              <a:gd name="connsiteY6" fmla="*/ 3681249 h 3744913"/>
              <a:gd name="connsiteX7" fmla="*/ 0 w 5244740"/>
              <a:gd name="connsiteY7" fmla="*/ 63664 h 3744913"/>
              <a:gd name="connsiteX8" fmla="*/ 63664 w 5244740"/>
              <a:gd name="connsiteY8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44740" h="3744913">
                <a:moveTo>
                  <a:pt x="63664" y="0"/>
                </a:moveTo>
                <a:lnTo>
                  <a:pt x="5181076" y="0"/>
                </a:lnTo>
                <a:cubicBezTo>
                  <a:pt x="5216237" y="0"/>
                  <a:pt x="5244740" y="28503"/>
                  <a:pt x="5244740" y="63664"/>
                </a:cubicBezTo>
                <a:lnTo>
                  <a:pt x="5244740" y="3681249"/>
                </a:lnTo>
                <a:cubicBezTo>
                  <a:pt x="5244740" y="3716410"/>
                  <a:pt x="5216237" y="3744913"/>
                  <a:pt x="5181076" y="3744913"/>
                </a:cubicBezTo>
                <a:lnTo>
                  <a:pt x="63664" y="3744913"/>
                </a:lnTo>
                <a:cubicBezTo>
                  <a:pt x="28503" y="3744913"/>
                  <a:pt x="0" y="3716410"/>
                  <a:pt x="0" y="3681249"/>
                </a:cubicBezTo>
                <a:lnTo>
                  <a:pt x="0" y="63664"/>
                </a:lnTo>
                <a:cubicBezTo>
                  <a:pt x="0" y="28503"/>
                  <a:pt x="28503" y="0"/>
                  <a:pt x="63664" y="0"/>
                </a:cubicBezTo>
                <a:close/>
              </a:path>
            </a:pathLst>
          </a:custGeom>
          <a:solidFill>
            <a:srgbClr val="F8F6F3"/>
          </a:solidFill>
        </p:spPr>
        <p:txBody>
          <a:bodyPr wrap="square" lIns="216000" tIns="216000" rIns="216000" bIns="216000">
            <a:noAutofit/>
          </a:bodyPr>
          <a:lstStyle>
            <a:lvl1pPr marL="342900" indent="-3429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lang="nl-NL" sz="1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1600"/>
              </a:spcBef>
              <a:spcAft>
                <a:spcPts val="1600"/>
              </a:spcAft>
              <a:buNone/>
              <a:defRPr/>
            </a:lvl2pPr>
            <a:lvl3pPr marL="180975" indent="-180975">
              <a:spcBef>
                <a:spcPts val="400"/>
              </a:spcBef>
              <a:spcAft>
                <a:spcPts val="0"/>
              </a:spcAft>
              <a:defRPr/>
            </a:lvl3pPr>
            <a:lvl4pPr marL="180975" indent="-180975">
              <a:spcBef>
                <a:spcPts val="400"/>
              </a:spcBef>
              <a:spcAft>
                <a:spcPts val="800"/>
              </a:spcAft>
              <a:defRPr/>
            </a:lvl4pPr>
            <a:lvl5pPr marL="180975" indent="-180975">
              <a:spcBef>
                <a:spcPts val="400"/>
              </a:spcBef>
              <a:spcAft>
                <a:spcPts val="800"/>
              </a:spcAft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2"/>
            <a:endParaRPr lang="nl-NL" dirty="0"/>
          </a:p>
        </p:txBody>
      </p:sp>
      <p:sp>
        <p:nvSpPr>
          <p:cNvPr id="34" name="Titel 33">
            <a:extLst>
              <a:ext uri="{FF2B5EF4-FFF2-40B4-BE49-F238E27FC236}">
                <a16:creationId xmlns:a16="http://schemas.microsoft.com/office/drawing/2014/main" id="{54672AB0-6826-0A88-F564-35C15E7BB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5651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291C01-DF0D-4565-9954-BE5DE207A2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2FDF97D-6A10-4E89-8016-1411C69638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5" y="1844675"/>
            <a:ext cx="5250466" cy="3744913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9F667A6-C074-46B8-85A4-0AF379F0F5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1231265"/>
            <a:ext cx="10938655" cy="474876"/>
          </a:xfrm>
        </p:spPr>
        <p:txBody>
          <a:bodyPr/>
          <a:lstStyle>
            <a:lvl1pPr marL="0" indent="0">
              <a:buNone/>
              <a:defRPr lang="nl-NL" sz="2200" b="1" kern="1200" cap="none" spc="21" baseline="0" smtClean="0">
                <a:solidFill>
                  <a:schemeClr val="tx1"/>
                </a:solidFill>
                <a:latin typeface="+mj-lt"/>
                <a:ea typeface="+mn-ea"/>
                <a:cs typeface="Titillium Web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9689A2B7-AD9B-495F-B753-A4C8CCEBC6F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B49DF6-6064-40C6-BB96-869F18CAAAF2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11" name="Tijdelijke aanduiding voor voettekst 10">
            <a:extLst>
              <a:ext uri="{FF2B5EF4-FFF2-40B4-BE49-F238E27FC236}">
                <a16:creationId xmlns:a16="http://schemas.microsoft.com/office/drawing/2014/main" id="{45C543B5-0815-4D39-83E8-70D339CE0C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nl-NL" dirty="0"/>
          </a:p>
        </p:txBody>
      </p:sp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EA4DF22E-BCE8-44DD-B920-C3AC59CD4E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F20F3AB3-C0CA-A91A-3B03-985B502411B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1899" y="1844675"/>
            <a:ext cx="5250466" cy="3744913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92340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BC74FBC8-888B-2EC9-DE9C-FD9EE837E91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11900" y="1844675"/>
            <a:ext cx="5244740" cy="3744913"/>
          </a:xfrm>
          <a:custGeom>
            <a:avLst/>
            <a:gdLst>
              <a:gd name="connsiteX0" fmla="*/ 63664 w 5244740"/>
              <a:gd name="connsiteY0" fmla="*/ 0 h 3744913"/>
              <a:gd name="connsiteX1" fmla="*/ 5181076 w 5244740"/>
              <a:gd name="connsiteY1" fmla="*/ 0 h 3744913"/>
              <a:gd name="connsiteX2" fmla="*/ 5244740 w 5244740"/>
              <a:gd name="connsiteY2" fmla="*/ 63664 h 3744913"/>
              <a:gd name="connsiteX3" fmla="*/ 5244740 w 5244740"/>
              <a:gd name="connsiteY3" fmla="*/ 3681249 h 3744913"/>
              <a:gd name="connsiteX4" fmla="*/ 5181076 w 5244740"/>
              <a:gd name="connsiteY4" fmla="*/ 3744913 h 3744913"/>
              <a:gd name="connsiteX5" fmla="*/ 63664 w 5244740"/>
              <a:gd name="connsiteY5" fmla="*/ 3744913 h 3744913"/>
              <a:gd name="connsiteX6" fmla="*/ 0 w 5244740"/>
              <a:gd name="connsiteY6" fmla="*/ 3681249 h 3744913"/>
              <a:gd name="connsiteX7" fmla="*/ 0 w 5244740"/>
              <a:gd name="connsiteY7" fmla="*/ 63664 h 3744913"/>
              <a:gd name="connsiteX8" fmla="*/ 63664 w 5244740"/>
              <a:gd name="connsiteY8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44740" h="3744913">
                <a:moveTo>
                  <a:pt x="63664" y="0"/>
                </a:moveTo>
                <a:lnTo>
                  <a:pt x="5181076" y="0"/>
                </a:lnTo>
                <a:cubicBezTo>
                  <a:pt x="5216237" y="0"/>
                  <a:pt x="5244740" y="28503"/>
                  <a:pt x="5244740" y="63664"/>
                </a:cubicBezTo>
                <a:lnTo>
                  <a:pt x="5244740" y="3681249"/>
                </a:lnTo>
                <a:cubicBezTo>
                  <a:pt x="5244740" y="3716410"/>
                  <a:pt x="5216237" y="3744913"/>
                  <a:pt x="5181076" y="3744913"/>
                </a:cubicBezTo>
                <a:lnTo>
                  <a:pt x="63664" y="3744913"/>
                </a:lnTo>
                <a:cubicBezTo>
                  <a:pt x="28503" y="3744913"/>
                  <a:pt x="0" y="3716410"/>
                  <a:pt x="0" y="3681249"/>
                </a:cubicBezTo>
                <a:lnTo>
                  <a:pt x="0" y="63664"/>
                </a:lnTo>
                <a:cubicBezTo>
                  <a:pt x="0" y="28503"/>
                  <a:pt x="28503" y="0"/>
                  <a:pt x="63664" y="0"/>
                </a:cubicBezTo>
                <a:close/>
              </a:path>
            </a:pathLst>
          </a:custGeom>
          <a:solidFill>
            <a:srgbClr val="CB6F2E">
              <a:alpha val="50196"/>
            </a:srgbClr>
          </a:solidFill>
        </p:spPr>
        <p:txBody>
          <a:bodyPr wrap="square" lIns="216000" tIns="216000" rIns="216000" bIns="216000">
            <a:noAutofit/>
          </a:bodyPr>
          <a:lstStyle>
            <a:lvl1pPr>
              <a:spcAft>
                <a:spcPts val="0"/>
              </a:spcAft>
              <a:defRPr b="1"/>
            </a:lvl1pPr>
            <a:lvl2pPr marL="0" indent="0">
              <a:spcBef>
                <a:spcPts val="1600"/>
              </a:spcBef>
              <a:spcAft>
                <a:spcPts val="1600"/>
              </a:spcAft>
              <a:buNone/>
              <a:defRPr/>
            </a:lvl2pPr>
            <a:lvl3pPr marL="180975" indent="-180975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lvl3pPr>
            <a:lvl4pPr marL="180975" indent="-180975">
              <a:spcBef>
                <a:spcPts val="400"/>
              </a:spcBef>
              <a:spcAft>
                <a:spcPts val="800"/>
              </a:spcAft>
              <a:buClr>
                <a:schemeClr val="tx2"/>
              </a:buClr>
              <a:defRPr/>
            </a:lvl4pPr>
            <a:lvl5pPr marL="180975" indent="-180975">
              <a:spcBef>
                <a:spcPts val="400"/>
              </a:spcBef>
              <a:spcAft>
                <a:spcPts val="800"/>
              </a:spcAft>
              <a:buClr>
                <a:schemeClr val="tx2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291C01-DF0D-4565-9954-BE5DE207A2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2FDF97D-6A10-4E89-8016-1411C696389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635" y="1844675"/>
            <a:ext cx="5250466" cy="3744913"/>
          </a:xfrm>
        </p:spPr>
        <p:txBody>
          <a:bodyPr lIns="0" tIns="216000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9F667A6-C074-46B8-85A4-0AF379F0F5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1231265"/>
            <a:ext cx="10938655" cy="474876"/>
          </a:xfrm>
        </p:spPr>
        <p:txBody>
          <a:bodyPr/>
          <a:lstStyle>
            <a:lvl1pPr marL="0" indent="0">
              <a:buNone/>
              <a:defRPr lang="nl-NL" sz="2200" b="1" kern="1200" cap="none" spc="21" baseline="0" smtClean="0">
                <a:solidFill>
                  <a:schemeClr val="tx1"/>
                </a:solidFill>
                <a:latin typeface="+mj-lt"/>
                <a:ea typeface="+mn-ea"/>
                <a:cs typeface="Titillium Web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9689A2B7-AD9B-495F-B753-A4C8CCEBC6F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B49DF6-6064-40C6-BB96-869F18CAAAF2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11" name="Tijdelijke aanduiding voor voettekst 10">
            <a:extLst>
              <a:ext uri="{FF2B5EF4-FFF2-40B4-BE49-F238E27FC236}">
                <a16:creationId xmlns:a16="http://schemas.microsoft.com/office/drawing/2014/main" id="{45C543B5-0815-4D39-83E8-70D339CE0C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nl-NL" dirty="0"/>
          </a:p>
        </p:txBody>
      </p:sp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EA4DF22E-BCE8-44DD-B920-C3AC59CD4E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305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BC74FBC8-888B-2EC9-DE9C-FD9EE837E91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11900" y="1844675"/>
            <a:ext cx="5244740" cy="3744913"/>
          </a:xfrm>
          <a:custGeom>
            <a:avLst/>
            <a:gdLst>
              <a:gd name="connsiteX0" fmla="*/ 63664 w 5244740"/>
              <a:gd name="connsiteY0" fmla="*/ 0 h 3744913"/>
              <a:gd name="connsiteX1" fmla="*/ 5181076 w 5244740"/>
              <a:gd name="connsiteY1" fmla="*/ 0 h 3744913"/>
              <a:gd name="connsiteX2" fmla="*/ 5244740 w 5244740"/>
              <a:gd name="connsiteY2" fmla="*/ 63664 h 3744913"/>
              <a:gd name="connsiteX3" fmla="*/ 5244740 w 5244740"/>
              <a:gd name="connsiteY3" fmla="*/ 3681249 h 3744913"/>
              <a:gd name="connsiteX4" fmla="*/ 5181076 w 5244740"/>
              <a:gd name="connsiteY4" fmla="*/ 3744913 h 3744913"/>
              <a:gd name="connsiteX5" fmla="*/ 63664 w 5244740"/>
              <a:gd name="connsiteY5" fmla="*/ 3744913 h 3744913"/>
              <a:gd name="connsiteX6" fmla="*/ 0 w 5244740"/>
              <a:gd name="connsiteY6" fmla="*/ 3681249 h 3744913"/>
              <a:gd name="connsiteX7" fmla="*/ 0 w 5244740"/>
              <a:gd name="connsiteY7" fmla="*/ 63664 h 3744913"/>
              <a:gd name="connsiteX8" fmla="*/ 63664 w 5244740"/>
              <a:gd name="connsiteY8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44740" h="3744913">
                <a:moveTo>
                  <a:pt x="63664" y="0"/>
                </a:moveTo>
                <a:lnTo>
                  <a:pt x="5181076" y="0"/>
                </a:lnTo>
                <a:cubicBezTo>
                  <a:pt x="5216237" y="0"/>
                  <a:pt x="5244740" y="28503"/>
                  <a:pt x="5244740" y="63664"/>
                </a:cubicBezTo>
                <a:lnTo>
                  <a:pt x="5244740" y="3681249"/>
                </a:lnTo>
                <a:cubicBezTo>
                  <a:pt x="5244740" y="3716410"/>
                  <a:pt x="5216237" y="3744913"/>
                  <a:pt x="5181076" y="3744913"/>
                </a:cubicBezTo>
                <a:lnTo>
                  <a:pt x="63664" y="3744913"/>
                </a:lnTo>
                <a:cubicBezTo>
                  <a:pt x="28503" y="3744913"/>
                  <a:pt x="0" y="3716410"/>
                  <a:pt x="0" y="3681249"/>
                </a:cubicBezTo>
                <a:lnTo>
                  <a:pt x="0" y="63664"/>
                </a:lnTo>
                <a:cubicBezTo>
                  <a:pt x="0" y="28503"/>
                  <a:pt x="28503" y="0"/>
                  <a:pt x="63664" y="0"/>
                </a:cubicBezTo>
                <a:close/>
              </a:path>
            </a:pathLst>
          </a:custGeom>
          <a:solidFill>
            <a:srgbClr val="CBBAAD">
              <a:alpha val="24706"/>
            </a:srgbClr>
          </a:solidFill>
        </p:spPr>
        <p:txBody>
          <a:bodyPr wrap="square" lIns="216000" tIns="216000" rIns="216000" bIns="216000">
            <a:noAutofit/>
          </a:bodyPr>
          <a:lstStyle>
            <a:lvl1pPr>
              <a:spcAft>
                <a:spcPts val="0"/>
              </a:spcAft>
              <a:defRPr b="1"/>
            </a:lvl1pPr>
            <a:lvl2pPr marL="0" indent="0">
              <a:spcBef>
                <a:spcPts val="1600"/>
              </a:spcBef>
              <a:spcAft>
                <a:spcPts val="1600"/>
              </a:spcAft>
              <a:buNone/>
              <a:defRPr/>
            </a:lvl2pPr>
            <a:lvl3pPr marL="180975" indent="-180975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lvl3pPr>
            <a:lvl4pPr marL="180975" indent="-180975">
              <a:spcBef>
                <a:spcPts val="400"/>
              </a:spcBef>
              <a:spcAft>
                <a:spcPts val="800"/>
              </a:spcAft>
              <a:buClr>
                <a:schemeClr val="tx2"/>
              </a:buClr>
              <a:defRPr/>
            </a:lvl4pPr>
            <a:lvl5pPr marL="180975" indent="-180975">
              <a:spcBef>
                <a:spcPts val="400"/>
              </a:spcBef>
              <a:spcAft>
                <a:spcPts val="800"/>
              </a:spcAft>
              <a:buClr>
                <a:schemeClr val="tx2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291C01-DF0D-4565-9954-BE5DE207A2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2FDF97D-6A10-4E89-8016-1411C696389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635" y="1844675"/>
            <a:ext cx="5250466" cy="3744913"/>
          </a:xfrm>
        </p:spPr>
        <p:txBody>
          <a:bodyPr lIns="0" tIns="216000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9F667A6-C074-46B8-85A4-0AF379F0F5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1231265"/>
            <a:ext cx="10938655" cy="474876"/>
          </a:xfrm>
        </p:spPr>
        <p:txBody>
          <a:bodyPr/>
          <a:lstStyle>
            <a:lvl1pPr marL="0" indent="0">
              <a:buNone/>
              <a:defRPr lang="nl-NL" sz="2200" b="1" kern="1200" cap="none" spc="21" baseline="0" smtClean="0">
                <a:solidFill>
                  <a:schemeClr val="tx1"/>
                </a:solidFill>
                <a:latin typeface="+mj-lt"/>
                <a:ea typeface="+mn-ea"/>
                <a:cs typeface="Titillium Web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9689A2B7-AD9B-495F-B753-A4C8CCEBC6F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B49DF6-6064-40C6-BB96-869F18CAAAF2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11" name="Tijdelijke aanduiding voor voettekst 10">
            <a:extLst>
              <a:ext uri="{FF2B5EF4-FFF2-40B4-BE49-F238E27FC236}">
                <a16:creationId xmlns:a16="http://schemas.microsoft.com/office/drawing/2014/main" id="{45C543B5-0815-4D39-83E8-70D339CE0C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nl-NL" dirty="0"/>
          </a:p>
        </p:txBody>
      </p:sp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EA4DF22E-BCE8-44DD-B920-C3AC59CD4E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1391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291C01-DF0D-4565-9954-BE5DE207A2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635" y="188640"/>
            <a:ext cx="5676518" cy="121745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2FDF97D-6A10-4E89-8016-1411C69638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4" y="1844675"/>
            <a:ext cx="5682265" cy="3744913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9F667A6-C074-46B8-85A4-0AF379F0F5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1231265"/>
            <a:ext cx="5682265" cy="474876"/>
          </a:xfrm>
        </p:spPr>
        <p:txBody>
          <a:bodyPr/>
          <a:lstStyle>
            <a:lvl1pPr marL="0" indent="0">
              <a:buNone/>
              <a:defRPr lang="nl-NL" sz="2200" b="1" kern="1200" cap="none" spc="21" baseline="0" smtClean="0">
                <a:solidFill>
                  <a:schemeClr val="tx1"/>
                </a:solidFill>
                <a:latin typeface="+mj-lt"/>
                <a:ea typeface="+mn-ea"/>
                <a:cs typeface="Titillium Web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9689A2B7-AD9B-495F-B753-A4C8CCEBC6F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B49DF6-6064-40C6-BB96-869F18CAAAF2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11" name="Tijdelijke aanduiding voor voettekst 10">
            <a:extLst>
              <a:ext uri="{FF2B5EF4-FFF2-40B4-BE49-F238E27FC236}">
                <a16:creationId xmlns:a16="http://schemas.microsoft.com/office/drawing/2014/main" id="{45C543B5-0815-4D39-83E8-70D339CE0C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nl-NL" dirty="0"/>
          </a:p>
        </p:txBody>
      </p:sp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EA4DF22E-BCE8-44DD-B920-C3AC59CD4E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3" name="Tijdelijke aanduiding voor afbeelding 12">
            <a:extLst>
              <a:ext uri="{FF2B5EF4-FFF2-40B4-BE49-F238E27FC236}">
                <a16:creationId xmlns:a16="http://schemas.microsoft.com/office/drawing/2014/main" id="{9B489016-3510-A811-7B4A-FD1D1B627F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69518" y="0"/>
            <a:ext cx="5822482" cy="6857615"/>
          </a:xfrm>
          <a:custGeom>
            <a:avLst/>
            <a:gdLst>
              <a:gd name="connsiteX0" fmla="*/ 1363656 w 5822482"/>
              <a:gd name="connsiteY0" fmla="*/ 0 h 6857615"/>
              <a:gd name="connsiteX1" fmla="*/ 5822482 w 5822482"/>
              <a:gd name="connsiteY1" fmla="*/ 0 h 6857615"/>
              <a:gd name="connsiteX2" fmla="*/ 5822482 w 5822482"/>
              <a:gd name="connsiteY2" fmla="*/ 6857615 h 6857615"/>
              <a:gd name="connsiteX3" fmla="*/ 0 w 5822482"/>
              <a:gd name="connsiteY3" fmla="*/ 6857615 h 6857615"/>
              <a:gd name="connsiteX4" fmla="*/ 0 w 5822482"/>
              <a:gd name="connsiteY4" fmla="*/ 6857519 h 6857615"/>
              <a:gd name="connsiteX5" fmla="*/ 153752 w 5822482"/>
              <a:gd name="connsiteY5" fmla="*/ 6857519 h 6857615"/>
              <a:gd name="connsiteX6" fmla="*/ 1654873 w 5822482"/>
              <a:gd name="connsiteY6" fmla="*/ 5854289 h 6857615"/>
              <a:gd name="connsiteX7" fmla="*/ 963314 w 5822482"/>
              <a:gd name="connsiteY7" fmla="*/ 3929755 h 6857615"/>
              <a:gd name="connsiteX8" fmla="*/ 869523 w 5822482"/>
              <a:gd name="connsiteY8" fmla="*/ 3673348 h 6857615"/>
              <a:gd name="connsiteX9" fmla="*/ 842130 w 5822482"/>
              <a:gd name="connsiteY9" fmla="*/ 3606546 h 6857615"/>
              <a:gd name="connsiteX10" fmla="*/ 979927 w 5822482"/>
              <a:gd name="connsiteY10" fmla="*/ 3152207 h 6857615"/>
              <a:gd name="connsiteX11" fmla="*/ 1308551 w 5822482"/>
              <a:gd name="connsiteY11" fmla="*/ 2207574 h 6857615"/>
              <a:gd name="connsiteX12" fmla="*/ 1642072 w 5822482"/>
              <a:gd name="connsiteY12" fmla="*/ 1273499 h 6857615"/>
              <a:gd name="connsiteX13" fmla="*/ 1794563 w 5822482"/>
              <a:gd name="connsiteY13" fmla="*/ 850840 h 6857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22482" h="6857615">
                <a:moveTo>
                  <a:pt x="1363656" y="0"/>
                </a:moveTo>
                <a:lnTo>
                  <a:pt x="5822482" y="0"/>
                </a:lnTo>
                <a:lnTo>
                  <a:pt x="5822482" y="6857615"/>
                </a:lnTo>
                <a:lnTo>
                  <a:pt x="0" y="6857615"/>
                </a:lnTo>
                <a:lnTo>
                  <a:pt x="0" y="6857519"/>
                </a:lnTo>
                <a:lnTo>
                  <a:pt x="153752" y="6857519"/>
                </a:lnTo>
                <a:lnTo>
                  <a:pt x="1654873" y="5854289"/>
                </a:lnTo>
                <a:lnTo>
                  <a:pt x="963314" y="3929755"/>
                </a:lnTo>
                <a:lnTo>
                  <a:pt x="869523" y="3673348"/>
                </a:lnTo>
                <a:lnTo>
                  <a:pt x="842130" y="3606546"/>
                </a:lnTo>
                <a:lnTo>
                  <a:pt x="979927" y="3152207"/>
                </a:lnTo>
                <a:lnTo>
                  <a:pt x="1308551" y="2207574"/>
                </a:lnTo>
                <a:lnTo>
                  <a:pt x="1642072" y="1273499"/>
                </a:lnTo>
                <a:lnTo>
                  <a:pt x="1794563" y="8508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ym typeface="Wingdings" panose="05000000000000000000" pitchFamily="2" charset="2"/>
              </a:defRPr>
            </a:lvl1pPr>
          </a:lstStyle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157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9689A2B7-AD9B-495F-B753-A4C8CCEBC6F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B49DF6-6064-40C6-BB96-869F18CAAAF2}" type="datetime2">
              <a:rPr lang="nl-NL" smtClean="0"/>
              <a:t>donderdag 23 oktober 2025</a:t>
            </a:fld>
            <a:endParaRPr lang="nl-NL" dirty="0"/>
          </a:p>
        </p:txBody>
      </p:sp>
      <p:sp>
        <p:nvSpPr>
          <p:cNvPr id="11" name="Tijdelijke aanduiding voor voettekst 10">
            <a:extLst>
              <a:ext uri="{FF2B5EF4-FFF2-40B4-BE49-F238E27FC236}">
                <a16:creationId xmlns:a16="http://schemas.microsoft.com/office/drawing/2014/main" id="{45C543B5-0815-4D39-83E8-70D339CE0C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nl-NL" dirty="0"/>
          </a:p>
        </p:txBody>
      </p:sp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EA4DF22E-BCE8-44DD-B920-C3AC59CD4E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B8A2E1-7B1F-45C1-A1C3-689F1C866318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Afbeelding">
            <a:extLst>
              <a:ext uri="{FF2B5EF4-FFF2-40B4-BE49-F238E27FC236}">
                <a16:creationId xmlns:a16="http://schemas.microsoft.com/office/drawing/2014/main" id="{532AEC7B-8E9F-A17B-E5E3-CF8EC536724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289960" y="0"/>
            <a:ext cx="6902040" cy="6857615"/>
          </a:xfrm>
          <a:custGeom>
            <a:avLst/>
            <a:gdLst>
              <a:gd name="connsiteX0" fmla="*/ 1363656 w 6902040"/>
              <a:gd name="connsiteY0" fmla="*/ 0 h 6857615"/>
              <a:gd name="connsiteX1" fmla="*/ 6902040 w 6902040"/>
              <a:gd name="connsiteY1" fmla="*/ 0 h 6857615"/>
              <a:gd name="connsiteX2" fmla="*/ 6902040 w 6902040"/>
              <a:gd name="connsiteY2" fmla="*/ 6857615 h 6857615"/>
              <a:gd name="connsiteX3" fmla="*/ 0 w 6902040"/>
              <a:gd name="connsiteY3" fmla="*/ 6857615 h 6857615"/>
              <a:gd name="connsiteX4" fmla="*/ 0 w 6902040"/>
              <a:gd name="connsiteY4" fmla="*/ 6857519 h 6857615"/>
              <a:gd name="connsiteX5" fmla="*/ 153752 w 6902040"/>
              <a:gd name="connsiteY5" fmla="*/ 6857519 h 6857615"/>
              <a:gd name="connsiteX6" fmla="*/ 1654873 w 6902040"/>
              <a:gd name="connsiteY6" fmla="*/ 5854289 h 6857615"/>
              <a:gd name="connsiteX7" fmla="*/ 963314 w 6902040"/>
              <a:gd name="connsiteY7" fmla="*/ 3929755 h 6857615"/>
              <a:gd name="connsiteX8" fmla="*/ 869523 w 6902040"/>
              <a:gd name="connsiteY8" fmla="*/ 3673348 h 6857615"/>
              <a:gd name="connsiteX9" fmla="*/ 842130 w 6902040"/>
              <a:gd name="connsiteY9" fmla="*/ 3606546 h 6857615"/>
              <a:gd name="connsiteX10" fmla="*/ 979927 w 6902040"/>
              <a:gd name="connsiteY10" fmla="*/ 3152207 h 6857615"/>
              <a:gd name="connsiteX11" fmla="*/ 1308551 w 6902040"/>
              <a:gd name="connsiteY11" fmla="*/ 2207574 h 6857615"/>
              <a:gd name="connsiteX12" fmla="*/ 1642072 w 6902040"/>
              <a:gd name="connsiteY12" fmla="*/ 1273499 h 6857615"/>
              <a:gd name="connsiteX13" fmla="*/ 1794563 w 6902040"/>
              <a:gd name="connsiteY13" fmla="*/ 850840 h 6857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902040" h="6857615">
                <a:moveTo>
                  <a:pt x="1363656" y="0"/>
                </a:moveTo>
                <a:lnTo>
                  <a:pt x="6902040" y="0"/>
                </a:lnTo>
                <a:lnTo>
                  <a:pt x="6902040" y="6857615"/>
                </a:lnTo>
                <a:lnTo>
                  <a:pt x="0" y="6857615"/>
                </a:lnTo>
                <a:lnTo>
                  <a:pt x="0" y="6857519"/>
                </a:lnTo>
                <a:lnTo>
                  <a:pt x="153752" y="6857519"/>
                </a:lnTo>
                <a:lnTo>
                  <a:pt x="1654873" y="5854289"/>
                </a:lnTo>
                <a:lnTo>
                  <a:pt x="963314" y="3929755"/>
                </a:lnTo>
                <a:lnTo>
                  <a:pt x="869523" y="3673348"/>
                </a:lnTo>
                <a:lnTo>
                  <a:pt x="842130" y="3606546"/>
                </a:lnTo>
                <a:lnTo>
                  <a:pt x="979927" y="3152207"/>
                </a:lnTo>
                <a:lnTo>
                  <a:pt x="1308551" y="2207574"/>
                </a:lnTo>
                <a:lnTo>
                  <a:pt x="1642072" y="1273499"/>
                </a:lnTo>
                <a:lnTo>
                  <a:pt x="1794563" y="8508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ym typeface="Wingdings" panose="05000000000000000000" pitchFamily="2" charset="2"/>
              </a:defRPr>
            </a:lvl1pPr>
          </a:lstStyle>
          <a:p>
            <a:r>
              <a:rPr lang="nl-NL" dirty="0"/>
              <a:t>Klik op het “tabje” rechts om de foto te selecteren 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2FDF97D-6A10-4E89-8016-1411C69638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5" y="1844675"/>
            <a:ext cx="5676518" cy="3744913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9F667A6-C074-46B8-85A4-0AF379F0F5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1231265"/>
            <a:ext cx="5682265" cy="474876"/>
          </a:xfrm>
        </p:spPr>
        <p:txBody>
          <a:bodyPr/>
          <a:lstStyle>
            <a:lvl1pPr marL="0" indent="0">
              <a:buNone/>
              <a:defRPr lang="nl-NL" sz="2200" b="1" kern="1200" cap="none" spc="21" baseline="0" smtClean="0">
                <a:solidFill>
                  <a:schemeClr val="tx1"/>
                </a:solidFill>
                <a:latin typeface="+mj-lt"/>
                <a:ea typeface="+mn-ea"/>
                <a:cs typeface="Titillium Web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291C01-DF0D-4565-9954-BE5DE207A2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635" y="188640"/>
            <a:ext cx="5676518" cy="121745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75273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 descr="Afbeelding met Graphics, wit, grafische vormgeving, ontwerp&#10;&#10;Door AI gegenereerde inhoud is mogelijk onjuist.">
            <a:extLst>
              <a:ext uri="{FF2B5EF4-FFF2-40B4-BE49-F238E27FC236}">
                <a16:creationId xmlns:a16="http://schemas.microsoft.com/office/drawing/2014/main" id="{35A1408B-E8B4-A1D7-843A-2B995BFD8C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681" y="2097697"/>
            <a:ext cx="12225790" cy="4760303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1F3873FA-EBB1-49B8-A723-1C753726D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0158" y="1268413"/>
            <a:ext cx="9216529" cy="1878880"/>
          </a:xfrm>
        </p:spPr>
        <p:txBody>
          <a:bodyPr anchor="b"/>
          <a:lstStyle>
            <a:lvl1pPr algn="l">
              <a:defRPr lang="nl-NL" sz="6300" b="0" kern="1200" spc="52">
                <a:solidFill>
                  <a:schemeClr val="tx1"/>
                </a:solidFill>
                <a:latin typeface="Titillium Web"/>
                <a:ea typeface="+mn-ea"/>
                <a:cs typeface="Titillium Web"/>
              </a:defRPr>
            </a:lvl1pPr>
          </a:lstStyle>
          <a:p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204099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4="http://schemas.microsoft.com/office/drawing/2010/main" xmlns:a16="http://schemas.microsoft.com/office/drawing/2014/main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 descr="Afbeelding met Graphics, wit, grafische vormgeving, ontwerp&#10;&#10;Door AI gegenereerde inhoud is mogelijk onjuist.">
            <a:extLst>
              <a:ext uri="{FF2B5EF4-FFF2-40B4-BE49-F238E27FC236}">
                <a16:creationId xmlns:a16="http://schemas.microsoft.com/office/drawing/2014/main" id="{B08ECF22-BE42-A35D-957A-9E0D390A22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681" y="2097697"/>
            <a:ext cx="12225790" cy="4760303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1F3873FA-EBB1-49B8-A723-1C753726D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268413"/>
            <a:ext cx="10944384" cy="2901511"/>
          </a:xfrm>
        </p:spPr>
        <p:txBody>
          <a:bodyPr anchor="b"/>
          <a:lstStyle>
            <a:lvl1pPr algn="ctr">
              <a:defRPr lang="nl-NL" sz="9000" b="0" kern="1200" spc="52">
                <a:solidFill>
                  <a:schemeClr val="tx1"/>
                </a:solidFill>
                <a:latin typeface="Titillium Web"/>
                <a:ea typeface="+mn-ea"/>
                <a:cs typeface="Titillium Web"/>
              </a:defRPr>
            </a:lvl1pPr>
          </a:lstStyle>
          <a:p>
            <a:r>
              <a:rPr lang="nl-NL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717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4="http://schemas.microsoft.com/office/drawing/2010/main" xmlns:a16="http://schemas.microsoft.com/office/drawing/2014/main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38F974BA-1C67-46B3-AEB3-C9CE97E62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634" y="188640"/>
            <a:ext cx="10938479" cy="121745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nl-NL" dirty="0"/>
              <a:t>Titel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9F7B0BD-FAAD-4331-8607-142D58FFB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634" y="1844675"/>
            <a:ext cx="10938479" cy="3744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0"/>
            <a:r>
              <a:rPr lang="nl-NL" dirty="0"/>
              <a:t>Tweede niveau</a:t>
            </a:r>
          </a:p>
          <a:p>
            <a:pPr lvl="1"/>
            <a:r>
              <a:rPr lang="nl-NL" dirty="0"/>
              <a:t>Derde niveau</a:t>
            </a:r>
          </a:p>
          <a:p>
            <a:pPr lvl="2"/>
            <a:r>
              <a:rPr lang="nl-NL" dirty="0"/>
              <a:t>Vierde niveau</a:t>
            </a:r>
          </a:p>
          <a:p>
            <a:pPr lvl="3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C90F427-ED20-42D8-800A-E32586CE9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92220" y="6492876"/>
            <a:ext cx="2375892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lang="nl-NL" sz="900" kern="1200" cap="none" baseline="0" smtClean="0">
                <a:solidFill>
                  <a:srgbClr val="333333"/>
                </a:solidFill>
                <a:latin typeface="+mn-lt"/>
                <a:ea typeface="+mn-ea"/>
                <a:cs typeface="Titillium Web"/>
              </a:defRPr>
            </a:lvl1pPr>
          </a:lstStyle>
          <a:p>
            <a:fld id="{85B49DF6-6064-40C6-BB96-869F18CAAAF2}" type="datetime2">
              <a:rPr lang="nl-NL" smtClean="0"/>
              <a:pPr/>
              <a:t>donderdag 23 oktober 2025</a:t>
            </a:fld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DEA2A75-C98B-4D86-9F1C-CFBB1ABA6B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1584" y="6492876"/>
            <a:ext cx="6624736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>
              <a:defRPr lang="en-GB" sz="900" cap="none" baseline="0" dirty="0">
                <a:solidFill>
                  <a:srgbClr val="333333"/>
                </a:solidFill>
                <a:latin typeface="+mn-lt"/>
                <a:cs typeface="Titillium Web"/>
              </a:defRPr>
            </a:lvl1pPr>
          </a:lstStyle>
          <a:p>
            <a:pPr algn="r"/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7EE283D-4E7C-4CC2-85E0-6C6F45798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99" y="6492876"/>
            <a:ext cx="504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sz="900" kern="1200" cap="none" baseline="0" smtClean="0">
                <a:solidFill>
                  <a:srgbClr val="333333"/>
                </a:solidFill>
                <a:latin typeface="+mn-lt"/>
                <a:ea typeface="+mn-ea"/>
                <a:cs typeface="Titillium Web"/>
              </a:defRPr>
            </a:lvl1pPr>
          </a:lstStyle>
          <a:p>
            <a:fld id="{1CB8A2E1-7B1F-45C1-A1C3-689F1C866318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8667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50" r:id="rId3"/>
    <p:sldLayoutId id="2147483670" r:id="rId4"/>
    <p:sldLayoutId id="2147483671" r:id="rId5"/>
    <p:sldLayoutId id="2147483673" r:id="rId6"/>
    <p:sldLayoutId id="2147483674" r:id="rId7"/>
    <p:sldLayoutId id="2147483667" r:id="rId8"/>
    <p:sldLayoutId id="2147483675" r:id="rId9"/>
    <p:sldLayoutId id="2147483676" r:id="rId10"/>
    <p:sldLayoutId id="2147483654" r:id="rId11"/>
    <p:sldLayoutId id="2147483666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 xmlns:a16="http://schemas.microsoft.com/office/drawing/2014/main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300" b="1" kern="1200" cap="none" baseline="0">
          <a:solidFill>
            <a:srgbClr val="CB702E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2"/>
        </a:buClr>
        <a:buFont typeface="Open Sans" panose="020B0606030504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defTabSz="91440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1"/>
        </a:buClr>
        <a:buFont typeface="Open Sans" panose="020B0606030504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7800" algn="l" defTabSz="91440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1"/>
        </a:buClr>
        <a:buFont typeface="Open Sans" panose="020B0606030504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182563" algn="l" defTabSz="91440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1"/>
        </a:buClr>
        <a:buFont typeface="Open Sans" panose="020B0606030504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4625" algn="l" defTabSz="914400" rtl="0" eaLnBrk="1" latinLnBrk="0" hangingPunct="1">
        <a:lnSpc>
          <a:spcPct val="130000"/>
        </a:lnSpc>
        <a:spcBef>
          <a:spcPts val="0"/>
        </a:spcBef>
        <a:spcAft>
          <a:spcPts val="1600"/>
        </a:spcAft>
        <a:buClr>
          <a:schemeClr val="accent1"/>
        </a:buClr>
        <a:buFont typeface="Open Sans" panose="020B0606030504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Open Sans" panose="020B06060305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Open Sans" panose="020B06060305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Open Sans" panose="020B06060305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Open Sans" panose="020B06060305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4" pos="7287" userDrawn="1">
          <p15:clr>
            <a:srgbClr val="F26B43"/>
          </p15:clr>
        </p15:guide>
        <p15:guide id="6" orient="horz" pos="1162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pos="3704" userDrawn="1">
          <p15:clr>
            <a:srgbClr val="F26B43"/>
          </p15:clr>
        </p15:guide>
        <p15:guide id="9" pos="3976" userDrawn="1">
          <p15:clr>
            <a:srgbClr val="F26B43"/>
          </p15:clr>
        </p15:guide>
        <p15:guide id="10" pos="393" userDrawn="1">
          <p15:clr>
            <a:srgbClr val="F26B43"/>
          </p15:clr>
        </p15:guide>
        <p15:guide id="11" orient="horz" pos="3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object 3">
            <a:extLst>
              <a:ext uri="{FF2B5EF4-FFF2-40B4-BE49-F238E27FC236}">
                <a16:creationId xmlns:a16="http://schemas.microsoft.com/office/drawing/2014/main" id="{9A5B9F94-D63A-C06C-7905-1DE7BC359671}"/>
              </a:ext>
            </a:extLst>
          </p:cNvPr>
          <p:cNvPicPr>
            <a:picLocks noGrp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48" r="9048"/>
          <a:stretch/>
        </p:blipFill>
        <p:spPr>
          <a:xfrm>
            <a:off x="3935760" y="0"/>
            <a:ext cx="8424936" cy="6857615"/>
          </a:xfrm>
        </p:spPr>
      </p:pic>
      <p:sp>
        <p:nvSpPr>
          <p:cNvPr id="81" name="Ondertitel 80">
            <a:extLst>
              <a:ext uri="{FF2B5EF4-FFF2-40B4-BE49-F238E27FC236}">
                <a16:creationId xmlns:a16="http://schemas.microsoft.com/office/drawing/2014/main" id="{D605246E-4B2E-6797-5325-916BD8C871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7681" y="6126655"/>
            <a:ext cx="4388198" cy="133997"/>
          </a:xfrm>
        </p:spPr>
        <p:txBody>
          <a:bodyPr/>
          <a:lstStyle/>
          <a:p>
            <a:r>
              <a:rPr lang="nl-NL" dirty="0"/>
              <a:t>Versie / datum</a:t>
            </a:r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F51D37E9-3AF4-8630-DF43-475C8E7F05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682" y="3429000"/>
            <a:ext cx="4388198" cy="1342128"/>
          </a:xfrm>
        </p:spPr>
        <p:txBody>
          <a:bodyPr/>
          <a:lstStyle/>
          <a:p>
            <a:r>
              <a:rPr lang="nl-NL"/>
              <a:t>Titel presentatie</a:t>
            </a:r>
            <a:endParaRPr lang="nl-NL" dirty="0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0D8C181F-8D6F-CAA3-1EC3-160F2DFFD6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" y="111135"/>
            <a:ext cx="4698717" cy="33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19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4="http://schemas.microsoft.com/office/drawing/2010/main" xmlns:a16="http://schemas.microsoft.com/office/drawing/2014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6584BE-4CC4-AD1D-8480-313A52A15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3">
            <a:extLst>
              <a:ext uri="{FF2B5EF4-FFF2-40B4-BE49-F238E27FC236}">
                <a16:creationId xmlns:a16="http://schemas.microsoft.com/office/drawing/2014/main" id="{34102CEA-3801-9FB8-1A53-A87B3FE7F93D}"/>
              </a:ext>
            </a:extLst>
          </p:cNvPr>
          <p:cNvPicPr>
            <a:picLocks noGrp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59" r="16459"/>
          <a:stretch/>
        </p:blipFill>
        <p:spPr>
          <a:xfrm>
            <a:off x="5289960" y="0"/>
            <a:ext cx="6902040" cy="6857615"/>
          </a:xfrm>
        </p:spPr>
      </p:pic>
      <p:sp>
        <p:nvSpPr>
          <p:cNvPr id="9" name="Tijdelijke aanduiding voor inhoud 8">
            <a:extLst>
              <a:ext uri="{FF2B5EF4-FFF2-40B4-BE49-F238E27FC236}">
                <a16:creationId xmlns:a16="http://schemas.microsoft.com/office/drawing/2014/main" id="{8C8790B8-3378-AA6A-7B90-17122F6E3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5" y="1844675"/>
            <a:ext cx="5676518" cy="3744913"/>
          </a:xfrm>
        </p:spPr>
        <p:txBody>
          <a:bodyPr/>
          <a:lstStyle/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Praesent</a:t>
            </a:r>
            <a:r>
              <a:rPr lang="nl-NL" dirty="0"/>
              <a:t> </a:t>
            </a:r>
            <a:r>
              <a:rPr lang="nl-NL" dirty="0" err="1"/>
              <a:t>conse</a:t>
            </a:r>
            <a:r>
              <a:rPr lang="nl-NL" dirty="0"/>
              <a:t>- </a:t>
            </a:r>
            <a:r>
              <a:rPr lang="nl-NL" dirty="0" err="1"/>
              <a:t>quat</a:t>
            </a:r>
            <a:r>
              <a:rPr lang="nl-NL" dirty="0"/>
              <a:t> </a:t>
            </a:r>
            <a:r>
              <a:rPr lang="nl-NL" dirty="0" err="1"/>
              <a:t>ullamcorper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. Class </a:t>
            </a:r>
            <a:r>
              <a:rPr lang="nl-NL" dirty="0" err="1"/>
              <a:t>aptent</a:t>
            </a:r>
            <a:r>
              <a:rPr lang="nl-NL" dirty="0"/>
              <a:t> </a:t>
            </a:r>
            <a:r>
              <a:rPr lang="nl-NL" dirty="0" err="1"/>
              <a:t>taciti</a:t>
            </a:r>
            <a:r>
              <a:rPr lang="nl-NL" dirty="0"/>
              <a:t> </a:t>
            </a:r>
            <a:r>
              <a:rPr lang="nl-NL" dirty="0" err="1"/>
              <a:t>sociosqu</a:t>
            </a:r>
            <a:r>
              <a:rPr lang="nl-NL" dirty="0"/>
              <a:t> ad </a:t>
            </a:r>
            <a:r>
              <a:rPr lang="nl-NL" dirty="0" err="1"/>
              <a:t>litora</a:t>
            </a:r>
            <a:r>
              <a:rPr lang="nl-NL" dirty="0"/>
              <a:t> tor- </a:t>
            </a:r>
            <a:r>
              <a:rPr lang="nl-NL" dirty="0" err="1"/>
              <a:t>quent</a:t>
            </a:r>
            <a:r>
              <a:rPr lang="nl-NL" dirty="0"/>
              <a:t> per </a:t>
            </a:r>
            <a:r>
              <a:rPr lang="nl-NL" dirty="0" err="1"/>
              <a:t>conubia</a:t>
            </a:r>
            <a:r>
              <a:rPr lang="nl-NL" dirty="0"/>
              <a:t> </a:t>
            </a:r>
            <a:r>
              <a:rPr lang="nl-NL" dirty="0" err="1"/>
              <a:t>nostra</a:t>
            </a:r>
            <a:r>
              <a:rPr lang="nl-NL" dirty="0"/>
              <a:t>, per </a:t>
            </a:r>
            <a:r>
              <a:rPr lang="nl-NL" dirty="0" err="1"/>
              <a:t>inceptos</a:t>
            </a:r>
            <a:r>
              <a:rPr lang="nl-NL" dirty="0"/>
              <a:t> </a:t>
            </a:r>
            <a:r>
              <a:rPr lang="nl-NL" dirty="0" err="1"/>
              <a:t>himenaeos</a:t>
            </a:r>
            <a:r>
              <a:rPr lang="nl-NL" dirty="0"/>
              <a:t>. Nam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justo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facilisis</a:t>
            </a:r>
            <a:r>
              <a:rPr lang="nl-NL" dirty="0"/>
              <a:t> </a:t>
            </a:r>
            <a:r>
              <a:rPr lang="nl-NL" dirty="0" err="1"/>
              <a:t>imperdiet</a:t>
            </a:r>
            <a:r>
              <a:rPr lang="nl-NL" dirty="0"/>
              <a:t>. </a:t>
            </a:r>
            <a:r>
              <a:rPr lang="nl-NL" dirty="0" err="1"/>
              <a:t>Suspendisse</a:t>
            </a:r>
            <a:r>
              <a:rPr lang="nl-NL" dirty="0"/>
              <a:t> </a:t>
            </a:r>
          </a:p>
          <a:p>
            <a:pPr lvl="1"/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 lvl="1"/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 lvl="1"/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</p:txBody>
      </p:sp>
      <p:sp>
        <p:nvSpPr>
          <p:cNvPr id="18" name="Tijdelijke aanduiding voor tekst 17">
            <a:extLst>
              <a:ext uri="{FF2B5EF4-FFF2-40B4-BE49-F238E27FC236}">
                <a16:creationId xmlns:a16="http://schemas.microsoft.com/office/drawing/2014/main" id="{ED7F078D-A1A1-24F5-28CF-79B6A1BDDB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5BC5E527-138E-23F3-8BCF-2DF14F4A2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it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B47FC8FE-5C3A-C78F-0629-A107F01537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0825C59F-C7D6-1C15-28BC-FFD4068BF891}"/>
              </a:ext>
            </a:extLst>
          </p:cNvPr>
          <p:cNvSpPr/>
          <p:nvPr/>
        </p:nvSpPr>
        <p:spPr>
          <a:xfrm>
            <a:off x="623888" y="4725144"/>
            <a:ext cx="3023840" cy="36004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chemeClr val="bg1"/>
                </a:solidFill>
                <a:latin typeface="Titillium Web" pitchFamily="2" charset="77"/>
              </a:rPr>
              <a:t>Ruimte voor teks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709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4="http://schemas.microsoft.com/office/drawing/2010/main" xmlns:a16="http://schemas.microsoft.com/office/drawing/2014/main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AD909D-24CE-8627-F0B5-B1D7C17F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“Ruimte voor </a:t>
            </a:r>
            <a:br>
              <a:rPr lang="nl-NL" dirty="0"/>
            </a:br>
            <a:r>
              <a:rPr lang="nl-NL" dirty="0"/>
              <a:t>een quote”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C835D6DF-C5C4-5F87-E4D9-7CF5DE08B4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9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A332FF-7C01-B3E4-851F-7A01BB84EF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>
            <a:extLst>
              <a:ext uri="{FF2B5EF4-FFF2-40B4-BE49-F238E27FC236}">
                <a16:creationId xmlns:a16="http://schemas.microsoft.com/office/drawing/2014/main" id="{E71122A4-DBDE-B74E-DC67-CD8FE8E59C60}"/>
              </a:ext>
            </a:extLst>
          </p:cNvPr>
          <p:cNvPicPr>
            <a:picLocks noGrp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891480"/>
            <a:ext cx="12360696" cy="8321040"/>
          </a:xfrm>
        </p:spPr>
      </p:pic>
    </p:spTree>
    <p:extLst>
      <p:ext uri="{BB962C8B-B14F-4D97-AF65-F5344CB8AC3E}">
        <p14:creationId xmlns:p14="http://schemas.microsoft.com/office/powerpoint/2010/main" val="194321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4="http://schemas.microsoft.com/office/drawing/2010/main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E5D78A-67AE-C48E-ACAD-06F57546CA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object 3">
            <a:extLst>
              <a:ext uri="{FF2B5EF4-FFF2-40B4-BE49-F238E27FC236}">
                <a16:creationId xmlns:a16="http://schemas.microsoft.com/office/drawing/2014/main" id="{982B2793-59EE-1462-F1EB-F9AFDB9EE3E1}"/>
              </a:ext>
            </a:extLst>
          </p:cNvPr>
          <p:cNvPicPr>
            <a:picLocks noGrp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48" r="9048"/>
          <a:stretch/>
        </p:blipFill>
        <p:spPr>
          <a:xfrm>
            <a:off x="3935760" y="0"/>
            <a:ext cx="8424936" cy="6857615"/>
          </a:xfrm>
        </p:spPr>
      </p:pic>
      <p:sp>
        <p:nvSpPr>
          <p:cNvPr id="81" name="Ondertitel 80">
            <a:extLst>
              <a:ext uri="{FF2B5EF4-FFF2-40B4-BE49-F238E27FC236}">
                <a16:creationId xmlns:a16="http://schemas.microsoft.com/office/drawing/2014/main" id="{EC0CF756-F49D-09E8-3B49-3CC7BD83B8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7681" y="6126655"/>
            <a:ext cx="4388198" cy="133997"/>
          </a:xfrm>
        </p:spPr>
        <p:txBody>
          <a:bodyPr/>
          <a:lstStyle/>
          <a:p>
            <a:r>
              <a:rPr lang="nl-NL" dirty="0"/>
              <a:t>Versie / datum</a:t>
            </a:r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AD91D18E-A1D6-FAB6-6345-10ABAB63D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682" y="3429000"/>
            <a:ext cx="4388198" cy="1342128"/>
          </a:xfrm>
        </p:spPr>
        <p:txBody>
          <a:bodyPr/>
          <a:lstStyle/>
          <a:p>
            <a:r>
              <a:rPr lang="nl-NL"/>
              <a:t>Titel presentatie</a:t>
            </a:r>
            <a:endParaRPr lang="nl-NL" dirty="0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4DC6C28D-0AB4-D5AF-0969-F9DA2D9F1C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" y="111135"/>
            <a:ext cx="4698717" cy="33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996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85044A-4AFE-134C-DC6F-CD92D355F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itel</a:t>
            </a:r>
          </a:p>
        </p:txBody>
      </p:sp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2447261F-8530-191C-4A58-AACBF476E33D}"/>
              </a:ext>
            </a:extLst>
          </p:cNvPr>
          <p:cNvSpPr/>
          <p:nvPr/>
        </p:nvSpPr>
        <p:spPr>
          <a:xfrm>
            <a:off x="2380158" y="3359796"/>
            <a:ext cx="3023840" cy="36004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chemeClr val="bg1"/>
                </a:solidFill>
                <a:latin typeface="Titillium Web" pitchFamily="2" charset="77"/>
              </a:rPr>
              <a:t>Ruimte voor tekst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208A1E3-2857-2EF2-0136-4FA62A0C60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075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E68D61-4C2B-5353-D81C-370150172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3E3B3B3-C4E4-90AB-39E8-B3141F27F105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03F07BBA-C24A-33E4-FD67-847203F22D4D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  <a:p>
            <a:pPr>
              <a:buFont typeface="+mj-lt"/>
              <a:buAutoNum type="arabicPeriod" startAt="11"/>
            </a:pP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endParaRPr lang="nl-NL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003312F-5B94-B43A-1FC7-3A654F991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9DABFFC2-F2A9-F198-057B-7EFBC41D01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21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3A58F4-6405-4800-96C0-2E578E2343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FA044FF3-E109-748E-BA1A-3A9032488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E68452D7-B975-C5FA-F949-687D0F8EE0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object 3">
            <a:extLst>
              <a:ext uri="{FF2B5EF4-FFF2-40B4-BE49-F238E27FC236}">
                <a16:creationId xmlns:a16="http://schemas.microsoft.com/office/drawing/2014/main" id="{833D5C66-6BF6-2084-6010-BD47506033CA}"/>
              </a:ext>
            </a:extLst>
          </p:cNvPr>
          <p:cNvPicPr>
            <a:picLocks noGrp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8" r="21698"/>
          <a:stretch/>
        </p:blipFill>
        <p:spPr>
          <a:xfrm>
            <a:off x="6369518" y="0"/>
            <a:ext cx="5822482" cy="6857615"/>
          </a:xfr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5A820360-F33A-698D-767D-44C7B0B7D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  <p:sp>
        <p:nvSpPr>
          <p:cNvPr id="7" name="Tijdelijke aanduiding voor inhoud 8">
            <a:extLst>
              <a:ext uri="{FF2B5EF4-FFF2-40B4-BE49-F238E27FC236}">
                <a16:creationId xmlns:a16="http://schemas.microsoft.com/office/drawing/2014/main" id="{BB853C78-0E61-BC3D-69BF-2A2446501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4" y="1844675"/>
            <a:ext cx="5682265" cy="3744913"/>
          </a:xfrm>
        </p:spPr>
        <p:txBody>
          <a:bodyPr/>
          <a:lstStyle/>
          <a:p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Lore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psu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dolo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6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36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sectetu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adipiscing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elit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Praes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cons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-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qua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ullamcorpe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elementu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Class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apt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taciti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sociosqu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ad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litora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2" dirty="0">
                <a:solidFill>
                  <a:srgbClr val="000000"/>
                </a:solidFill>
                <a:latin typeface="Open Sans"/>
                <a:cs typeface="Open Sans"/>
              </a:rPr>
              <a:t>tor-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quent</a:t>
            </a:r>
            <a:r>
              <a:rPr lang="nl-NL" sz="1200" b="0" spc="-6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ubia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nostra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inceptos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himenaeos</a:t>
            </a:r>
            <a:r>
              <a:rPr lang="nl-NL" sz="1200" b="0" spc="-30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Na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pellentesqu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justo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facilisis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mperdiet</a:t>
            </a:r>
            <a:r>
              <a:rPr lang="nl-NL" sz="1200" b="0" spc="-27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Suspendisse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 err="1">
                <a:solidFill>
                  <a:srgbClr val="000000"/>
                </a:solidFill>
                <a:latin typeface="Open Sans"/>
                <a:cs typeface="Open Sans"/>
              </a:rPr>
              <a:t>sed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sapien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molestie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odales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magna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>
                <a:solidFill>
                  <a:srgbClr val="000000"/>
                </a:solidFill>
                <a:latin typeface="Open Sans"/>
                <a:cs typeface="Open Sans"/>
              </a:rPr>
              <a:t>in,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malesuada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nisi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Maecenas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volutpat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psum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42" dirty="0" err="1">
                <a:solidFill>
                  <a:srgbClr val="000000"/>
                </a:solidFill>
                <a:latin typeface="Open Sans"/>
                <a:cs typeface="Open Sans"/>
              </a:rPr>
              <a:t>diam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,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a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consequat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2" dirty="0" err="1">
                <a:solidFill>
                  <a:srgbClr val="000000"/>
                </a:solidFill>
                <a:latin typeface="Open Sans"/>
                <a:cs typeface="Open Sans"/>
              </a:rPr>
              <a:t>tur</a:t>
            </a:r>
            <a:r>
              <a:rPr lang="nl-NL" sz="1200" b="0" spc="-12" dirty="0">
                <a:solidFill>
                  <a:srgbClr val="000000"/>
                </a:solidFill>
                <a:latin typeface="Open Sans"/>
                <a:cs typeface="Open Sans"/>
              </a:rPr>
              <a:t>- 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pis</a:t>
            </a:r>
            <a:r>
              <a:rPr lang="nl-NL" sz="1200" b="0" spc="-7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vulputate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8" dirty="0">
                <a:solidFill>
                  <a:srgbClr val="000000"/>
                </a:solidFill>
                <a:latin typeface="Open Sans"/>
                <a:cs typeface="Open Sans"/>
              </a:rPr>
              <a:t>at.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5" dirty="0" err="1">
                <a:solidFill>
                  <a:srgbClr val="000000"/>
                </a:solidFill>
                <a:latin typeface="Open Sans"/>
                <a:cs typeface="Open Sans"/>
              </a:rPr>
              <a:t>Donec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vitae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leo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vitae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magna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ullamcorper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>
                <a:solidFill>
                  <a:srgbClr val="000000"/>
                </a:solidFill>
                <a:latin typeface="Open Sans"/>
                <a:cs typeface="Open Sans"/>
              </a:rPr>
              <a:t>semper.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In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augu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orci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ornare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u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lore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quis</a:t>
            </a:r>
            <a:r>
              <a:rPr lang="nl-NL" sz="1200" b="0" spc="-27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dapibus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congue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arcu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</a:p>
          <a:p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Lore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psu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dolo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6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36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sectetu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adipiscing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elit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Praes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cons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-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qua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ullamcorpe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elementu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Class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apt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taciti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sociosqu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ad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litora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2" dirty="0">
                <a:solidFill>
                  <a:srgbClr val="000000"/>
                </a:solidFill>
                <a:latin typeface="Open Sans"/>
                <a:cs typeface="Open Sans"/>
              </a:rPr>
              <a:t>tor-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quent</a:t>
            </a:r>
            <a:r>
              <a:rPr lang="nl-NL" sz="1200" b="0" spc="-6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ubia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nostra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inceptos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himenaeos</a:t>
            </a:r>
            <a:r>
              <a:rPr lang="nl-NL" sz="1200" b="0" spc="-30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Na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pellentesqu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justo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facilisis</a:t>
            </a:r>
            <a:r>
              <a:rPr lang="nl-NL" sz="1200" b="0" spc="-30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endParaRPr lang="nl-NL" dirty="0"/>
          </a:p>
        </p:txBody>
      </p:sp>
      <p:sp>
        <p:nvSpPr>
          <p:cNvPr id="11" name="Afgeronde rechthoek 10">
            <a:extLst>
              <a:ext uri="{FF2B5EF4-FFF2-40B4-BE49-F238E27FC236}">
                <a16:creationId xmlns:a16="http://schemas.microsoft.com/office/drawing/2014/main" id="{31DE5B2F-4B7B-5A9D-D258-0B6FF6115110}"/>
              </a:ext>
            </a:extLst>
          </p:cNvPr>
          <p:cNvSpPr/>
          <p:nvPr/>
        </p:nvSpPr>
        <p:spPr>
          <a:xfrm>
            <a:off x="623888" y="4725144"/>
            <a:ext cx="3023840" cy="36004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chemeClr val="bg1"/>
                </a:solidFill>
                <a:latin typeface="Titillium Web" pitchFamily="2" charset="77"/>
              </a:rPr>
              <a:t>Ruimte voor tekst</a:t>
            </a:r>
          </a:p>
        </p:txBody>
      </p:sp>
    </p:spTree>
    <p:extLst>
      <p:ext uri="{BB962C8B-B14F-4D97-AF65-F5344CB8AC3E}">
        <p14:creationId xmlns:p14="http://schemas.microsoft.com/office/powerpoint/2010/main" val="161943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9C1626-5566-05F6-30BD-1E95EBA327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BE707B6-DBC6-C3C8-1397-273EC4DC4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8922F495-C025-8AD8-F4D2-279C51BB12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object 3">
            <a:extLst>
              <a:ext uri="{FF2B5EF4-FFF2-40B4-BE49-F238E27FC236}">
                <a16:creationId xmlns:a16="http://schemas.microsoft.com/office/drawing/2014/main" id="{EC47F4BA-12A5-E80D-CB66-751235D9BA99}"/>
              </a:ext>
            </a:extLst>
          </p:cNvPr>
          <p:cNvPicPr>
            <a:picLocks noGrp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05" r="21705"/>
          <a:stretch/>
        </p:blipFill>
        <p:spPr>
          <a:xfrm>
            <a:off x="6369518" y="0"/>
            <a:ext cx="5822482" cy="6857615"/>
          </a:xfr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9AE42D77-AAE7-8EE4-66A1-8B2F0E4C6D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  <p:sp>
        <p:nvSpPr>
          <p:cNvPr id="7" name="Tijdelijke aanduiding voor inhoud 8">
            <a:extLst>
              <a:ext uri="{FF2B5EF4-FFF2-40B4-BE49-F238E27FC236}">
                <a16:creationId xmlns:a16="http://schemas.microsoft.com/office/drawing/2014/main" id="{5223B47F-B84A-6A3E-D505-2F1D973535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4" y="1844675"/>
            <a:ext cx="5682265" cy="3744913"/>
          </a:xfrm>
        </p:spPr>
        <p:txBody>
          <a:bodyPr/>
          <a:lstStyle/>
          <a:p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Lore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psu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dolo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6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36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sectetu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adipiscing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elit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Praes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cons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-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qua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ullamcorpe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elementu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Class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apt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taciti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sociosqu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ad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litora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2" dirty="0">
                <a:solidFill>
                  <a:srgbClr val="000000"/>
                </a:solidFill>
                <a:latin typeface="Open Sans"/>
                <a:cs typeface="Open Sans"/>
              </a:rPr>
              <a:t>tor-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quent</a:t>
            </a:r>
            <a:r>
              <a:rPr lang="nl-NL" sz="1200" b="0" spc="-6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ubia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nostra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inceptos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himenaeos</a:t>
            </a:r>
            <a:r>
              <a:rPr lang="nl-NL" sz="1200" b="0" spc="-30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Na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pellentesqu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justo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facilisis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mperdiet</a:t>
            </a:r>
            <a:r>
              <a:rPr lang="nl-NL" sz="1200" b="0" spc="-27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Suspendisse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 err="1">
                <a:solidFill>
                  <a:srgbClr val="000000"/>
                </a:solidFill>
                <a:latin typeface="Open Sans"/>
                <a:cs typeface="Open Sans"/>
              </a:rPr>
              <a:t>sed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sapien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molestie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odales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magna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>
                <a:solidFill>
                  <a:srgbClr val="000000"/>
                </a:solidFill>
                <a:latin typeface="Open Sans"/>
                <a:cs typeface="Open Sans"/>
              </a:rPr>
              <a:t>in,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malesuada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nisi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Maecenas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volutpat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psum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42" dirty="0" err="1">
                <a:solidFill>
                  <a:srgbClr val="000000"/>
                </a:solidFill>
                <a:latin typeface="Open Sans"/>
                <a:cs typeface="Open Sans"/>
              </a:rPr>
              <a:t>diam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,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a</a:t>
            </a:r>
            <a:r>
              <a:rPr lang="nl-NL" sz="1200" b="0" spc="-4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consequat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2" dirty="0" err="1">
                <a:solidFill>
                  <a:srgbClr val="000000"/>
                </a:solidFill>
                <a:latin typeface="Open Sans"/>
                <a:cs typeface="Open Sans"/>
              </a:rPr>
              <a:t>tur</a:t>
            </a:r>
            <a:r>
              <a:rPr lang="nl-NL" sz="1200" b="0" spc="-12" dirty="0">
                <a:solidFill>
                  <a:srgbClr val="000000"/>
                </a:solidFill>
                <a:latin typeface="Open Sans"/>
                <a:cs typeface="Open Sans"/>
              </a:rPr>
              <a:t>- 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pis</a:t>
            </a:r>
            <a:r>
              <a:rPr lang="nl-NL" sz="1200" b="0" spc="-7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vulputate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8" dirty="0">
                <a:solidFill>
                  <a:srgbClr val="000000"/>
                </a:solidFill>
                <a:latin typeface="Open Sans"/>
                <a:cs typeface="Open Sans"/>
              </a:rPr>
              <a:t>at.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5" dirty="0" err="1">
                <a:solidFill>
                  <a:srgbClr val="000000"/>
                </a:solidFill>
                <a:latin typeface="Open Sans"/>
                <a:cs typeface="Open Sans"/>
              </a:rPr>
              <a:t>Donec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vitae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leo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vitae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magna</a:t>
            </a:r>
            <a:r>
              <a:rPr lang="nl-NL" sz="1200" b="0" spc="-3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ullamcorper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>
                <a:solidFill>
                  <a:srgbClr val="000000"/>
                </a:solidFill>
                <a:latin typeface="Open Sans"/>
                <a:cs typeface="Open Sans"/>
              </a:rPr>
              <a:t>semper.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In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augu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orci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ornare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u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lore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quis</a:t>
            </a:r>
            <a:r>
              <a:rPr lang="nl-NL" sz="1200" b="0" spc="-27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dapibus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congue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arcu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</a:p>
          <a:p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Lore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ipsum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dolo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6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36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sectetu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adipiscing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elit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Praes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cons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-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qua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ullamcorper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elementu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Class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aptent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taciti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sociosqu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ad</a:t>
            </a:r>
            <a:r>
              <a:rPr lang="nl-NL" sz="1200" b="0" spc="-4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3" dirty="0" err="1">
                <a:solidFill>
                  <a:srgbClr val="000000"/>
                </a:solidFill>
                <a:latin typeface="Open Sans"/>
                <a:cs typeface="Open Sans"/>
              </a:rPr>
              <a:t>litora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2" dirty="0">
                <a:solidFill>
                  <a:srgbClr val="000000"/>
                </a:solidFill>
                <a:latin typeface="Open Sans"/>
                <a:cs typeface="Open Sans"/>
              </a:rPr>
              <a:t>tor-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quent</a:t>
            </a:r>
            <a:r>
              <a:rPr lang="nl-NL" sz="1200" b="0" spc="-6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7" dirty="0" err="1">
                <a:solidFill>
                  <a:srgbClr val="000000"/>
                </a:solidFill>
                <a:latin typeface="Open Sans"/>
                <a:cs typeface="Open Sans"/>
              </a:rPr>
              <a:t>conubia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4" dirty="0" err="1">
                <a:solidFill>
                  <a:srgbClr val="000000"/>
                </a:solidFill>
                <a:latin typeface="Open Sans"/>
                <a:cs typeface="Open Sans"/>
              </a:rPr>
              <a:t>nostra</a:t>
            </a:r>
            <a:r>
              <a:rPr lang="nl-NL" sz="1200" b="0" spc="-24" dirty="0">
                <a:solidFill>
                  <a:srgbClr val="000000"/>
                </a:solidFill>
                <a:latin typeface="Open Sans"/>
                <a:cs typeface="Open Sans"/>
              </a:rPr>
              <a:t>,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dirty="0">
                <a:solidFill>
                  <a:srgbClr val="000000"/>
                </a:solidFill>
                <a:latin typeface="Open Sans"/>
                <a:cs typeface="Open Sans"/>
              </a:rPr>
              <a:t>per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21" dirty="0" err="1">
                <a:solidFill>
                  <a:srgbClr val="000000"/>
                </a:solidFill>
                <a:latin typeface="Open Sans"/>
                <a:cs typeface="Open Sans"/>
              </a:rPr>
              <a:t>inceptos</a:t>
            </a:r>
            <a:r>
              <a:rPr lang="nl-NL" sz="1200" b="0" spc="-55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himenaeos</a:t>
            </a:r>
            <a:r>
              <a:rPr lang="nl-NL" sz="1200" b="0" spc="-30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Nam</a:t>
            </a:r>
            <a:r>
              <a:rPr lang="nl-NL" sz="1200" b="0" spc="-33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pellentesque</a:t>
            </a:r>
            <a:r>
              <a:rPr lang="nl-NL" sz="1200" b="0" spc="-6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18" dirty="0" err="1">
                <a:solidFill>
                  <a:srgbClr val="000000"/>
                </a:solidFill>
                <a:latin typeface="Open Sans"/>
                <a:cs typeface="Open Sans"/>
              </a:rPr>
              <a:t>justo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6" dirty="0" err="1">
                <a:solidFill>
                  <a:srgbClr val="000000"/>
                </a:solidFill>
                <a:latin typeface="Open Sans"/>
                <a:cs typeface="Open Sans"/>
              </a:rPr>
              <a:t>sit</a:t>
            </a:r>
            <a:r>
              <a:rPr lang="nl-NL" sz="1200" b="0" spc="-52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amet</a:t>
            </a:r>
            <a:r>
              <a:rPr lang="nl-NL" sz="1200" b="0" spc="-49" dirty="0">
                <a:solidFill>
                  <a:srgbClr val="000000"/>
                </a:solidFill>
                <a:latin typeface="Open Sans"/>
                <a:cs typeface="Open Sans"/>
              </a:rPr>
              <a:t> </a:t>
            </a:r>
            <a:r>
              <a:rPr lang="nl-NL" sz="1200" b="0" spc="-30" dirty="0" err="1">
                <a:solidFill>
                  <a:srgbClr val="000000"/>
                </a:solidFill>
                <a:latin typeface="Open Sans"/>
                <a:cs typeface="Open Sans"/>
              </a:rPr>
              <a:t>facilisis</a:t>
            </a:r>
            <a:r>
              <a:rPr lang="nl-NL" sz="1200" b="0" spc="-30" dirty="0">
                <a:solidFill>
                  <a:srgbClr val="000000"/>
                </a:solidFill>
                <a:latin typeface="Open Sans"/>
                <a:cs typeface="Open Sans"/>
              </a:rPr>
              <a:t>.</a:t>
            </a:r>
            <a:endParaRPr lang="nl-NL" dirty="0"/>
          </a:p>
        </p:txBody>
      </p:sp>
      <p:sp>
        <p:nvSpPr>
          <p:cNvPr id="11" name="Afgeronde rechthoek 10">
            <a:extLst>
              <a:ext uri="{FF2B5EF4-FFF2-40B4-BE49-F238E27FC236}">
                <a16:creationId xmlns:a16="http://schemas.microsoft.com/office/drawing/2014/main" id="{5DC7F0A2-D351-BC1B-903D-5D5475C48633}"/>
              </a:ext>
            </a:extLst>
          </p:cNvPr>
          <p:cNvSpPr/>
          <p:nvPr/>
        </p:nvSpPr>
        <p:spPr>
          <a:xfrm>
            <a:off x="623888" y="4725144"/>
            <a:ext cx="3023840" cy="36004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chemeClr val="bg1"/>
                </a:solidFill>
                <a:latin typeface="Titillium Web" pitchFamily="2" charset="77"/>
              </a:rPr>
              <a:t>Ruimte voor tekst</a:t>
            </a:r>
          </a:p>
        </p:txBody>
      </p:sp>
    </p:spTree>
    <p:extLst>
      <p:ext uri="{BB962C8B-B14F-4D97-AF65-F5344CB8AC3E}">
        <p14:creationId xmlns:p14="http://schemas.microsoft.com/office/powerpoint/2010/main" val="27357435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C63FE7-B940-E6D5-B884-FD07915D6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634" y="188640"/>
            <a:ext cx="10938479" cy="1217452"/>
          </a:xfrm>
        </p:spPr>
        <p:txBody>
          <a:bodyPr/>
          <a:lstStyle/>
          <a:p>
            <a:r>
              <a:rPr lang="nl-NL" dirty="0"/>
              <a:t>Dit is de titel</a:t>
            </a:r>
          </a:p>
        </p:txBody>
      </p:sp>
      <p:sp>
        <p:nvSpPr>
          <p:cNvPr id="10" name="Tijdelijke aanduiding voor inhoud 9">
            <a:extLst>
              <a:ext uri="{FF2B5EF4-FFF2-40B4-BE49-F238E27FC236}">
                <a16:creationId xmlns:a16="http://schemas.microsoft.com/office/drawing/2014/main" id="{EAC76A65-5C13-A275-76EF-432062AA4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200" spc="-24" dirty="0" err="1">
                <a:latin typeface="Open Sans"/>
                <a:cs typeface="Open Sans"/>
              </a:rPr>
              <a:t>Lore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dolo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36" dirty="0" err="1">
                <a:latin typeface="Open Sans"/>
                <a:cs typeface="Open Sans"/>
              </a:rPr>
              <a:t>amet</a:t>
            </a:r>
            <a:r>
              <a:rPr lang="nl-NL" sz="1200" spc="-36" dirty="0">
                <a:latin typeface="Open Sans"/>
                <a:cs typeface="Open Sans"/>
              </a:rPr>
              <a:t>,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sectetu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dipiscing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elit</a:t>
            </a:r>
            <a:r>
              <a:rPr lang="nl-NL" sz="1200" spc="-24" dirty="0">
                <a:latin typeface="Open Sans"/>
                <a:cs typeface="Open Sans"/>
              </a:rPr>
              <a:t>.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Praesen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12" dirty="0">
                <a:latin typeface="Open Sans"/>
                <a:cs typeface="Open Sans"/>
              </a:rPr>
              <a:t>con- </a:t>
            </a:r>
            <a:r>
              <a:rPr lang="nl-NL" sz="1200" spc="-18" dirty="0" err="1">
                <a:latin typeface="Open Sans"/>
                <a:cs typeface="Open Sans"/>
              </a:rPr>
              <a:t>sequa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ullamcor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elementum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>
                <a:latin typeface="Open Sans"/>
                <a:cs typeface="Open Sans"/>
              </a:rPr>
              <a:t>Clas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apten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taciti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sociosqu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ad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itora</a:t>
            </a:r>
            <a:r>
              <a:rPr lang="nl-NL" sz="1200" spc="-6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torquent</a:t>
            </a:r>
            <a:r>
              <a:rPr lang="nl-NL" sz="1200" spc="-61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64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ubia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nostra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incepto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himenaeos</a:t>
            </a:r>
            <a:r>
              <a:rPr lang="nl-NL" sz="1200" spc="-30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Nam</a:t>
            </a:r>
            <a:r>
              <a:rPr lang="nl-NL" sz="1200" spc="-33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pellentes</a:t>
            </a:r>
            <a:r>
              <a:rPr lang="nl-NL" sz="1200" spc="-6" dirty="0">
                <a:latin typeface="Open Sans"/>
                <a:cs typeface="Open Sans"/>
              </a:rPr>
              <a:t>- que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justo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ame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facilisis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mperdiet</a:t>
            </a:r>
            <a:r>
              <a:rPr lang="nl-NL" sz="1200" spc="-27" dirty="0">
                <a:latin typeface="Open Sans"/>
                <a:cs typeface="Open Sans"/>
              </a:rPr>
              <a:t>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uspendiss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 err="1">
                <a:latin typeface="Open Sans"/>
                <a:cs typeface="Open Sans"/>
              </a:rPr>
              <a:t>sed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apien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molestie</a:t>
            </a:r>
            <a:r>
              <a:rPr lang="nl-NL" sz="1200" spc="-18" dirty="0">
                <a:latin typeface="Open Sans"/>
                <a:cs typeface="Open Sans"/>
              </a:rPr>
              <a:t>, </a:t>
            </a:r>
            <a:r>
              <a:rPr lang="nl-NL" sz="1200" spc="-18" dirty="0" err="1">
                <a:latin typeface="Open Sans"/>
                <a:cs typeface="Open Sans"/>
              </a:rPr>
              <a:t>sodale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in,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malesuada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nisi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Maecenas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olutpa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42" dirty="0" err="1">
                <a:latin typeface="Open Sans"/>
                <a:cs typeface="Open Sans"/>
              </a:rPr>
              <a:t>diam</a:t>
            </a:r>
            <a:r>
              <a:rPr lang="nl-NL" sz="1200" spc="-42" dirty="0">
                <a:latin typeface="Open Sans"/>
                <a:cs typeface="Open Sans"/>
              </a:rPr>
              <a:t>, </a:t>
            </a:r>
            <a:r>
              <a:rPr lang="nl-NL" sz="1200" spc="-30" dirty="0">
                <a:latin typeface="Open Sans"/>
                <a:cs typeface="Open Sans"/>
              </a:rPr>
              <a:t>a </a:t>
            </a:r>
            <a:r>
              <a:rPr lang="nl-NL" sz="1200" spc="-24" dirty="0" err="1">
                <a:latin typeface="Open Sans"/>
                <a:cs typeface="Open Sans"/>
              </a:rPr>
              <a:t>consequa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turpi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ulputat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8" dirty="0">
                <a:latin typeface="Open Sans"/>
                <a:cs typeface="Open Sans"/>
              </a:rPr>
              <a:t>at.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5" dirty="0" err="1">
                <a:latin typeface="Open Sans"/>
                <a:cs typeface="Open Sans"/>
              </a:rPr>
              <a:t>Donec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eo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ullamcor</a:t>
            </a:r>
            <a:r>
              <a:rPr lang="nl-NL" sz="1200" spc="-6" dirty="0">
                <a:latin typeface="Open Sans"/>
                <a:cs typeface="Open Sans"/>
              </a:rPr>
              <a:t>-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semper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In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u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orci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ornar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u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lorem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quis</a:t>
            </a:r>
            <a:r>
              <a:rPr lang="nl-NL" sz="1200" spc="-27" dirty="0">
                <a:latin typeface="Open Sans"/>
                <a:cs typeface="Open Sans"/>
              </a:rPr>
              <a:t>,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dapibu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con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arcu</a:t>
            </a:r>
            <a:r>
              <a:rPr lang="nl-NL" sz="1200" spc="-6" dirty="0">
                <a:latin typeface="Open Sans"/>
                <a:cs typeface="Open Sans"/>
              </a:rPr>
              <a:t>.</a:t>
            </a:r>
          </a:p>
          <a:p>
            <a:r>
              <a:rPr lang="nl-NL" sz="1200" spc="-24" dirty="0" err="1">
                <a:latin typeface="Open Sans"/>
                <a:cs typeface="Open Sans"/>
              </a:rPr>
              <a:t>Lore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dolo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36" dirty="0" err="1">
                <a:latin typeface="Open Sans"/>
                <a:cs typeface="Open Sans"/>
              </a:rPr>
              <a:t>amet</a:t>
            </a:r>
            <a:r>
              <a:rPr lang="nl-NL" sz="1200" spc="-36" dirty="0">
                <a:latin typeface="Open Sans"/>
                <a:cs typeface="Open Sans"/>
              </a:rPr>
              <a:t>,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sectetu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dipiscing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elit</a:t>
            </a:r>
            <a:r>
              <a:rPr lang="nl-NL" sz="1200" spc="-24" dirty="0">
                <a:latin typeface="Open Sans"/>
                <a:cs typeface="Open Sans"/>
              </a:rPr>
              <a:t>.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Praesen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12" dirty="0">
                <a:latin typeface="Open Sans"/>
                <a:cs typeface="Open Sans"/>
              </a:rPr>
              <a:t>con- </a:t>
            </a:r>
            <a:r>
              <a:rPr lang="nl-NL" sz="1200" spc="-18" dirty="0" err="1">
                <a:latin typeface="Open Sans"/>
                <a:cs typeface="Open Sans"/>
              </a:rPr>
              <a:t>sequa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ullamcor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elementum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>
                <a:latin typeface="Open Sans"/>
                <a:cs typeface="Open Sans"/>
              </a:rPr>
              <a:t>Clas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apten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taciti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sociosqu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ad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itora</a:t>
            </a:r>
            <a:r>
              <a:rPr lang="nl-NL" sz="1200" spc="-6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torquent</a:t>
            </a:r>
            <a:r>
              <a:rPr lang="nl-NL" sz="1200" spc="-61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64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ubia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nostra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incepto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himenaeos</a:t>
            </a:r>
            <a:r>
              <a:rPr lang="nl-NL" sz="1200" spc="-30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Nam</a:t>
            </a:r>
            <a:r>
              <a:rPr lang="nl-NL" sz="1200" spc="-33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pellentes</a:t>
            </a:r>
            <a:r>
              <a:rPr lang="nl-NL" sz="1200" spc="-6" dirty="0">
                <a:latin typeface="Open Sans"/>
                <a:cs typeface="Open Sans"/>
              </a:rPr>
              <a:t>- que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justo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ame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facilisis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mperdiet</a:t>
            </a:r>
            <a:r>
              <a:rPr lang="nl-NL" sz="1200" spc="-27" dirty="0">
                <a:latin typeface="Open Sans"/>
                <a:cs typeface="Open Sans"/>
              </a:rPr>
              <a:t>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uspendiss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 err="1">
                <a:latin typeface="Open Sans"/>
                <a:cs typeface="Open Sans"/>
              </a:rPr>
              <a:t>sed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apien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molestie</a:t>
            </a:r>
            <a:r>
              <a:rPr lang="nl-NL" sz="1200" spc="-18" dirty="0">
                <a:latin typeface="Open Sans"/>
                <a:cs typeface="Open Sans"/>
              </a:rPr>
              <a:t>, </a:t>
            </a:r>
            <a:r>
              <a:rPr lang="nl-NL" sz="1200" spc="-18" dirty="0" err="1">
                <a:latin typeface="Open Sans"/>
                <a:cs typeface="Open Sans"/>
              </a:rPr>
              <a:t>sodale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in,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malesuada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nisi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Maecenas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olutpa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42" dirty="0" err="1">
                <a:latin typeface="Open Sans"/>
                <a:cs typeface="Open Sans"/>
              </a:rPr>
              <a:t>diam</a:t>
            </a:r>
            <a:r>
              <a:rPr lang="nl-NL" sz="1200" spc="-42" dirty="0">
                <a:latin typeface="Open Sans"/>
                <a:cs typeface="Open Sans"/>
              </a:rPr>
              <a:t>, </a:t>
            </a:r>
            <a:r>
              <a:rPr lang="nl-NL" sz="1200" spc="-30" dirty="0">
                <a:latin typeface="Open Sans"/>
                <a:cs typeface="Open Sans"/>
              </a:rPr>
              <a:t>a </a:t>
            </a:r>
            <a:r>
              <a:rPr lang="nl-NL" sz="1200" spc="-24" dirty="0" err="1">
                <a:latin typeface="Open Sans"/>
                <a:cs typeface="Open Sans"/>
              </a:rPr>
              <a:t>consequa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turpi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ulputat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8" dirty="0">
                <a:latin typeface="Open Sans"/>
                <a:cs typeface="Open Sans"/>
              </a:rPr>
              <a:t>at.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5" dirty="0" err="1">
                <a:latin typeface="Open Sans"/>
                <a:cs typeface="Open Sans"/>
              </a:rPr>
              <a:t>Donec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eo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ullamcor</a:t>
            </a:r>
            <a:r>
              <a:rPr lang="nl-NL" sz="1200" spc="-6" dirty="0">
                <a:latin typeface="Open Sans"/>
                <a:cs typeface="Open Sans"/>
              </a:rPr>
              <a:t>-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semper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In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u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orci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ornar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u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lorem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quis</a:t>
            </a:r>
            <a:r>
              <a:rPr lang="nl-NL" sz="1200" spc="-27" dirty="0">
                <a:latin typeface="Open Sans"/>
                <a:cs typeface="Open Sans"/>
              </a:rPr>
              <a:t>,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dapibu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con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arcu</a:t>
            </a:r>
            <a:r>
              <a:rPr lang="nl-NL" sz="1200" spc="-6" dirty="0">
                <a:latin typeface="Open Sans"/>
                <a:cs typeface="Open Sans"/>
              </a:rPr>
              <a:t>.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FE9CCF2A-ABE3-EC5E-EF6B-5D6F1D170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231265"/>
            <a:ext cx="10938655" cy="474876"/>
          </a:xfrm>
        </p:spPr>
        <p:txBody>
          <a:bodyPr/>
          <a:lstStyle/>
          <a:p>
            <a:r>
              <a:rPr lang="nl-NL" dirty="0"/>
              <a:t>En dit de subtitel</a:t>
            </a:r>
          </a:p>
        </p:txBody>
      </p:sp>
      <p:sp>
        <p:nvSpPr>
          <p:cNvPr id="11" name="Tijdelijke aanduiding voor inhoud 10">
            <a:extLst>
              <a:ext uri="{FF2B5EF4-FFF2-40B4-BE49-F238E27FC236}">
                <a16:creationId xmlns:a16="http://schemas.microsoft.com/office/drawing/2014/main" id="{F28D9BD0-5833-AD56-5824-C870661579F6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nl-NL" sz="1200" spc="-24" dirty="0" err="1">
                <a:latin typeface="Open Sans"/>
                <a:cs typeface="Open Sans"/>
              </a:rPr>
              <a:t>Lore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dolo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36" dirty="0" err="1">
                <a:latin typeface="Open Sans"/>
                <a:cs typeface="Open Sans"/>
              </a:rPr>
              <a:t>amet</a:t>
            </a:r>
            <a:r>
              <a:rPr lang="nl-NL" sz="1200" spc="-36" dirty="0">
                <a:latin typeface="Open Sans"/>
                <a:cs typeface="Open Sans"/>
              </a:rPr>
              <a:t>,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sectetu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dipiscing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elit</a:t>
            </a:r>
            <a:r>
              <a:rPr lang="nl-NL" sz="1200" spc="-24" dirty="0">
                <a:latin typeface="Open Sans"/>
                <a:cs typeface="Open Sans"/>
              </a:rPr>
              <a:t>.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Praesen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12" dirty="0">
                <a:latin typeface="Open Sans"/>
                <a:cs typeface="Open Sans"/>
              </a:rPr>
              <a:t>con- </a:t>
            </a:r>
            <a:r>
              <a:rPr lang="nl-NL" sz="1200" spc="-18" dirty="0" err="1">
                <a:latin typeface="Open Sans"/>
                <a:cs typeface="Open Sans"/>
              </a:rPr>
              <a:t>sequa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ullamcor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elementum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>
                <a:latin typeface="Open Sans"/>
                <a:cs typeface="Open Sans"/>
              </a:rPr>
              <a:t>Clas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apten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taciti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sociosqu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ad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itora</a:t>
            </a:r>
            <a:r>
              <a:rPr lang="nl-NL" sz="1200" spc="-6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torquent</a:t>
            </a:r>
            <a:r>
              <a:rPr lang="nl-NL" sz="1200" spc="-61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64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ubia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nostra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incepto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himenaeos</a:t>
            </a:r>
            <a:r>
              <a:rPr lang="nl-NL" sz="1200" spc="-30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Nam</a:t>
            </a:r>
            <a:r>
              <a:rPr lang="nl-NL" sz="1200" spc="-33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pellentes</a:t>
            </a:r>
            <a:r>
              <a:rPr lang="nl-NL" sz="1200" spc="-6" dirty="0">
                <a:latin typeface="Open Sans"/>
                <a:cs typeface="Open Sans"/>
              </a:rPr>
              <a:t>- que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justo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ame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facilisis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mperdiet</a:t>
            </a:r>
            <a:r>
              <a:rPr lang="nl-NL" sz="1200" spc="-27" dirty="0">
                <a:latin typeface="Open Sans"/>
                <a:cs typeface="Open Sans"/>
              </a:rPr>
              <a:t>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uspendiss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 err="1">
                <a:latin typeface="Open Sans"/>
                <a:cs typeface="Open Sans"/>
              </a:rPr>
              <a:t>sed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apien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molestie</a:t>
            </a:r>
            <a:r>
              <a:rPr lang="nl-NL" sz="1200" spc="-18" dirty="0">
                <a:latin typeface="Open Sans"/>
                <a:cs typeface="Open Sans"/>
              </a:rPr>
              <a:t>, </a:t>
            </a:r>
            <a:r>
              <a:rPr lang="nl-NL" sz="1200" spc="-18" dirty="0" err="1">
                <a:latin typeface="Open Sans"/>
                <a:cs typeface="Open Sans"/>
              </a:rPr>
              <a:t>sodale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in,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malesuada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nisi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Maecenas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olutpa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42" dirty="0" err="1">
                <a:latin typeface="Open Sans"/>
                <a:cs typeface="Open Sans"/>
              </a:rPr>
              <a:t>diam</a:t>
            </a:r>
            <a:r>
              <a:rPr lang="nl-NL" sz="1200" spc="-42" dirty="0">
                <a:latin typeface="Open Sans"/>
                <a:cs typeface="Open Sans"/>
              </a:rPr>
              <a:t>, </a:t>
            </a:r>
            <a:r>
              <a:rPr lang="nl-NL" sz="1200" spc="-30" dirty="0">
                <a:latin typeface="Open Sans"/>
                <a:cs typeface="Open Sans"/>
              </a:rPr>
              <a:t>a </a:t>
            </a:r>
            <a:r>
              <a:rPr lang="nl-NL" sz="1200" spc="-24" dirty="0" err="1">
                <a:latin typeface="Open Sans"/>
                <a:cs typeface="Open Sans"/>
              </a:rPr>
              <a:t>consequa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turpi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ulputat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8" dirty="0">
                <a:latin typeface="Open Sans"/>
                <a:cs typeface="Open Sans"/>
              </a:rPr>
              <a:t>at.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5" dirty="0" err="1">
                <a:latin typeface="Open Sans"/>
                <a:cs typeface="Open Sans"/>
              </a:rPr>
              <a:t>Donec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eo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ullamcor</a:t>
            </a:r>
            <a:r>
              <a:rPr lang="nl-NL" sz="1200" spc="-6" dirty="0">
                <a:latin typeface="Open Sans"/>
                <a:cs typeface="Open Sans"/>
              </a:rPr>
              <a:t>-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semper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In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u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orci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ornar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u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lorem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quis</a:t>
            </a:r>
            <a:r>
              <a:rPr lang="nl-NL" sz="1200" spc="-27" dirty="0">
                <a:latin typeface="Open Sans"/>
                <a:cs typeface="Open Sans"/>
              </a:rPr>
              <a:t>,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dapibu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con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arcu</a:t>
            </a:r>
            <a:r>
              <a:rPr lang="nl-NL" sz="1200" spc="-6" dirty="0">
                <a:latin typeface="Open Sans"/>
                <a:cs typeface="Open Sans"/>
              </a:rPr>
              <a:t>.</a:t>
            </a:r>
          </a:p>
          <a:p>
            <a:r>
              <a:rPr lang="nl-NL" sz="1200" spc="-24" dirty="0" err="1">
                <a:latin typeface="Open Sans"/>
                <a:cs typeface="Open Sans"/>
              </a:rPr>
              <a:t>Lore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dolo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36" dirty="0" err="1">
                <a:latin typeface="Open Sans"/>
                <a:cs typeface="Open Sans"/>
              </a:rPr>
              <a:t>amet</a:t>
            </a:r>
            <a:r>
              <a:rPr lang="nl-NL" sz="1200" spc="-36" dirty="0">
                <a:latin typeface="Open Sans"/>
                <a:cs typeface="Open Sans"/>
              </a:rPr>
              <a:t>,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sectetur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dipiscing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elit</a:t>
            </a:r>
            <a:r>
              <a:rPr lang="nl-NL" sz="1200" spc="-24" dirty="0">
                <a:latin typeface="Open Sans"/>
                <a:cs typeface="Open Sans"/>
              </a:rPr>
              <a:t>.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Praesen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12" dirty="0">
                <a:latin typeface="Open Sans"/>
                <a:cs typeface="Open Sans"/>
              </a:rPr>
              <a:t>con- </a:t>
            </a:r>
            <a:r>
              <a:rPr lang="nl-NL" sz="1200" spc="-18" dirty="0" err="1">
                <a:latin typeface="Open Sans"/>
                <a:cs typeface="Open Sans"/>
              </a:rPr>
              <a:t>sequa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ullamcor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elementum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>
                <a:latin typeface="Open Sans"/>
                <a:cs typeface="Open Sans"/>
              </a:rPr>
              <a:t>Clas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aptent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taciti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sociosqu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ad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itora</a:t>
            </a:r>
            <a:r>
              <a:rPr lang="nl-NL" sz="1200" spc="-6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torquent</a:t>
            </a:r>
            <a:r>
              <a:rPr lang="nl-NL" sz="1200" spc="-61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64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conubia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nostra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incepto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himenaeos</a:t>
            </a:r>
            <a:r>
              <a:rPr lang="nl-NL" sz="1200" spc="-30" dirty="0">
                <a:latin typeface="Open Sans"/>
                <a:cs typeface="Open Sans"/>
              </a:rPr>
              <a:t>.</a:t>
            </a:r>
            <a:r>
              <a:rPr lang="nl-NL" sz="1200" spc="-52" dirty="0">
                <a:latin typeface="Open Sans"/>
                <a:cs typeface="Open Sans"/>
              </a:rPr>
              <a:t> Nam</a:t>
            </a:r>
            <a:r>
              <a:rPr lang="nl-NL" sz="1200" spc="-33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pellentes</a:t>
            </a:r>
            <a:r>
              <a:rPr lang="nl-NL" sz="1200" spc="-6" dirty="0">
                <a:latin typeface="Open Sans"/>
                <a:cs typeface="Open Sans"/>
              </a:rPr>
              <a:t>- que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justo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si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ame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facilisis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mperdiet</a:t>
            </a:r>
            <a:r>
              <a:rPr lang="nl-NL" sz="1200" spc="-27" dirty="0">
                <a:latin typeface="Open Sans"/>
                <a:cs typeface="Open Sans"/>
              </a:rPr>
              <a:t>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uspendiss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 err="1">
                <a:latin typeface="Open Sans"/>
                <a:cs typeface="Open Sans"/>
              </a:rPr>
              <a:t>sed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sapien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18" dirty="0" err="1">
                <a:latin typeface="Open Sans"/>
                <a:cs typeface="Open Sans"/>
              </a:rPr>
              <a:t>molestie</a:t>
            </a:r>
            <a:r>
              <a:rPr lang="nl-NL" sz="1200" spc="-18" dirty="0">
                <a:latin typeface="Open Sans"/>
                <a:cs typeface="Open Sans"/>
              </a:rPr>
              <a:t>, </a:t>
            </a:r>
            <a:r>
              <a:rPr lang="nl-NL" sz="1200" spc="-18" dirty="0" err="1">
                <a:latin typeface="Open Sans"/>
                <a:cs typeface="Open Sans"/>
              </a:rPr>
              <a:t>sodale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in,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malesuada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nisi</a:t>
            </a:r>
            <a:r>
              <a:rPr lang="nl-NL" sz="1200" spc="-33" dirty="0">
                <a:latin typeface="Open Sans"/>
                <a:cs typeface="Open Sans"/>
              </a:rPr>
              <a:t>.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Maecenas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olutpat</a:t>
            </a:r>
            <a:r>
              <a:rPr lang="nl-NL" sz="1200" spc="-4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ipsum</a:t>
            </a:r>
            <a:r>
              <a:rPr lang="nl-NL" sz="1200" spc="-42" dirty="0">
                <a:latin typeface="Open Sans"/>
                <a:cs typeface="Open Sans"/>
              </a:rPr>
              <a:t> </a:t>
            </a:r>
            <a:r>
              <a:rPr lang="nl-NL" sz="1200" spc="-42" dirty="0" err="1">
                <a:latin typeface="Open Sans"/>
                <a:cs typeface="Open Sans"/>
              </a:rPr>
              <a:t>diam</a:t>
            </a:r>
            <a:r>
              <a:rPr lang="nl-NL" sz="1200" spc="-42" dirty="0">
                <a:latin typeface="Open Sans"/>
                <a:cs typeface="Open Sans"/>
              </a:rPr>
              <a:t>, </a:t>
            </a:r>
            <a:r>
              <a:rPr lang="nl-NL" sz="1200" spc="-30" dirty="0">
                <a:latin typeface="Open Sans"/>
                <a:cs typeface="Open Sans"/>
              </a:rPr>
              <a:t>a </a:t>
            </a:r>
            <a:r>
              <a:rPr lang="nl-NL" sz="1200" spc="-24" dirty="0" err="1">
                <a:latin typeface="Open Sans"/>
                <a:cs typeface="Open Sans"/>
              </a:rPr>
              <a:t>consequat</a:t>
            </a:r>
            <a:r>
              <a:rPr lang="nl-NL" sz="1200" spc="-58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turpis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 err="1">
                <a:latin typeface="Open Sans"/>
                <a:cs typeface="Open Sans"/>
              </a:rPr>
              <a:t>vulputat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8" dirty="0">
                <a:latin typeface="Open Sans"/>
                <a:cs typeface="Open Sans"/>
              </a:rPr>
              <a:t>at.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15" dirty="0" err="1">
                <a:latin typeface="Open Sans"/>
                <a:cs typeface="Open Sans"/>
              </a:rPr>
              <a:t>Donec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leo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33" dirty="0">
                <a:latin typeface="Open Sans"/>
                <a:cs typeface="Open Sans"/>
              </a:rPr>
              <a:t>vitae</a:t>
            </a:r>
            <a:r>
              <a:rPr lang="nl-NL" sz="1200" spc="-49" dirty="0">
                <a:latin typeface="Open Sans"/>
                <a:cs typeface="Open Sans"/>
              </a:rPr>
              <a:t> </a:t>
            </a:r>
            <a:r>
              <a:rPr lang="nl-NL" sz="1200" spc="-45" dirty="0">
                <a:latin typeface="Open Sans"/>
                <a:cs typeface="Open Sans"/>
              </a:rPr>
              <a:t>magna</a:t>
            </a:r>
            <a:r>
              <a:rPr lang="nl-NL" sz="1200" spc="-39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ullamcor</a:t>
            </a:r>
            <a:r>
              <a:rPr lang="nl-NL" sz="1200" spc="-6" dirty="0">
                <a:latin typeface="Open Sans"/>
                <a:cs typeface="Open Sans"/>
              </a:rPr>
              <a:t>- </a:t>
            </a:r>
            <a:r>
              <a:rPr lang="nl-NL" sz="1200" dirty="0">
                <a:latin typeface="Open Sans"/>
                <a:cs typeface="Open Sans"/>
              </a:rPr>
              <a:t>per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1" dirty="0">
                <a:latin typeface="Open Sans"/>
                <a:cs typeface="Open Sans"/>
              </a:rPr>
              <a:t>semper.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In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au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4" dirty="0" err="1">
                <a:latin typeface="Open Sans"/>
                <a:cs typeface="Open Sans"/>
              </a:rPr>
              <a:t>orci</a:t>
            </a:r>
            <a:r>
              <a:rPr lang="nl-NL" sz="1200" spc="-24" dirty="0">
                <a:latin typeface="Open Sans"/>
                <a:cs typeface="Open Sans"/>
              </a:rPr>
              <a:t>,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ornar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dirty="0">
                <a:latin typeface="Open Sans"/>
                <a:cs typeface="Open Sans"/>
              </a:rPr>
              <a:t>ut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30" dirty="0" err="1">
                <a:latin typeface="Open Sans"/>
                <a:cs typeface="Open Sans"/>
              </a:rPr>
              <a:t>lorem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quis</a:t>
            </a:r>
            <a:r>
              <a:rPr lang="nl-NL" sz="1200" spc="-27" dirty="0">
                <a:latin typeface="Open Sans"/>
                <a:cs typeface="Open Sans"/>
              </a:rPr>
              <a:t>,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27" dirty="0" err="1">
                <a:latin typeface="Open Sans"/>
                <a:cs typeface="Open Sans"/>
              </a:rPr>
              <a:t>dapibus</a:t>
            </a:r>
            <a:r>
              <a:rPr lang="nl-NL" sz="1200" spc="-52" dirty="0">
                <a:latin typeface="Open Sans"/>
                <a:cs typeface="Open Sans"/>
              </a:rPr>
              <a:t> </a:t>
            </a:r>
            <a:r>
              <a:rPr lang="nl-NL" sz="1200" spc="-21" dirty="0" err="1">
                <a:latin typeface="Open Sans"/>
                <a:cs typeface="Open Sans"/>
              </a:rPr>
              <a:t>congue</a:t>
            </a:r>
            <a:r>
              <a:rPr lang="nl-NL" sz="1200" spc="-55" dirty="0">
                <a:latin typeface="Open Sans"/>
                <a:cs typeface="Open Sans"/>
              </a:rPr>
              <a:t> </a:t>
            </a:r>
            <a:r>
              <a:rPr lang="nl-NL" sz="1200" spc="-6" dirty="0" err="1">
                <a:latin typeface="Open Sans"/>
                <a:cs typeface="Open Sans"/>
              </a:rPr>
              <a:t>arcu</a:t>
            </a:r>
            <a:r>
              <a:rPr lang="nl-NL" sz="1200" spc="-6" dirty="0">
                <a:latin typeface="Open Sans"/>
                <a:cs typeface="Open Sans"/>
              </a:rPr>
              <a:t>.</a:t>
            </a:r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57FBFBAD-61FD-F789-329A-C28E040FE8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02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210527FF-5813-99BC-F023-48FCABD3E1C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it-IT" dirty="0" err="1"/>
              <a:t>Vestibulum</a:t>
            </a:r>
            <a:r>
              <a:rPr lang="it-IT" dirty="0"/>
              <a:t> </a:t>
            </a:r>
            <a:r>
              <a:rPr lang="it-IT" dirty="0" err="1"/>
              <a:t>ullamcorper</a:t>
            </a:r>
            <a:r>
              <a:rPr lang="it-IT" dirty="0"/>
              <a:t> </a:t>
            </a:r>
            <a:r>
              <a:rPr lang="it-IT" dirty="0" err="1"/>
              <a:t>semper</a:t>
            </a:r>
            <a:r>
              <a:rPr lang="it-IT" dirty="0"/>
              <a:t> libero et </a:t>
            </a:r>
            <a:r>
              <a:rPr lang="it-IT" dirty="0" err="1"/>
              <a:t>vulputate</a:t>
            </a:r>
            <a:r>
              <a:rPr lang="it-IT" dirty="0"/>
              <a:t>.</a:t>
            </a:r>
          </a:p>
          <a:p>
            <a:pPr lvl="1"/>
            <a:r>
              <a:rPr lang="nl-NL" dirty="0" err="1"/>
              <a:t>Curabitur</a:t>
            </a:r>
            <a:r>
              <a:rPr lang="nl-NL" dirty="0"/>
              <a:t> </a:t>
            </a:r>
            <a:r>
              <a:rPr lang="nl-NL" dirty="0" err="1"/>
              <a:t>bibendum</a:t>
            </a:r>
            <a:r>
              <a:rPr lang="nl-NL" dirty="0"/>
              <a:t> </a:t>
            </a:r>
            <a:r>
              <a:rPr lang="nl-NL" dirty="0" err="1"/>
              <a:t>porttito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</a:t>
            </a: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, </a:t>
            </a:r>
            <a:r>
              <a:rPr lang="nl-NL" dirty="0" err="1"/>
              <a:t>tum</a:t>
            </a:r>
            <a:r>
              <a:rPr lang="nl-NL" dirty="0"/>
              <a:t>. Class </a:t>
            </a:r>
            <a:r>
              <a:rPr lang="nl-NL" dirty="0" err="1"/>
              <a:t>aptent</a:t>
            </a:r>
            <a:r>
              <a:rPr lang="nl-NL" dirty="0"/>
              <a:t> </a:t>
            </a:r>
            <a:r>
              <a:rPr lang="nl-NL" dirty="0" err="1"/>
              <a:t>taciti</a:t>
            </a:r>
            <a:r>
              <a:rPr lang="nl-NL" dirty="0"/>
              <a:t> </a:t>
            </a:r>
            <a:r>
              <a:rPr lang="nl-NL" dirty="0" err="1"/>
              <a:t>sociosqu</a:t>
            </a:r>
            <a:r>
              <a:rPr lang="nl-NL" dirty="0"/>
              <a:t> ad </a:t>
            </a:r>
            <a:r>
              <a:rPr lang="nl-NL" dirty="0" err="1"/>
              <a:t>litora</a:t>
            </a:r>
            <a:r>
              <a:rPr lang="nl-NL" dirty="0"/>
              <a:t> </a:t>
            </a:r>
            <a:r>
              <a:rPr lang="nl-NL" dirty="0" err="1"/>
              <a:t>torquent</a:t>
            </a:r>
            <a:r>
              <a:rPr lang="nl-NL" dirty="0"/>
              <a:t> per </a:t>
            </a:r>
            <a:r>
              <a:rPr lang="nl-NL" dirty="0" err="1"/>
              <a:t>conubia</a:t>
            </a:r>
            <a:r>
              <a:rPr lang="nl-NL" dirty="0"/>
              <a:t> </a:t>
            </a:r>
            <a:r>
              <a:rPr lang="nl-NL" dirty="0" err="1"/>
              <a:t>facilisis</a:t>
            </a:r>
            <a:r>
              <a:rPr lang="nl-NL" dirty="0"/>
              <a:t> </a:t>
            </a:r>
            <a:r>
              <a:rPr lang="nl-NL" dirty="0" err="1"/>
              <a:t>imperdiet</a:t>
            </a:r>
            <a:r>
              <a:rPr lang="nl-NL" dirty="0"/>
              <a:t>.</a:t>
            </a:r>
          </a:p>
          <a:p>
            <a:pPr lvl="2"/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sa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endParaRPr lang="nl-NL" dirty="0"/>
          </a:p>
          <a:p>
            <a:pPr lvl="2"/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sa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endParaRPr lang="nl-NL" dirty="0"/>
          </a:p>
          <a:p>
            <a:pPr lvl="2"/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sa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endParaRPr lang="nl-NL" dirty="0"/>
          </a:p>
          <a:p>
            <a:pPr lvl="1"/>
            <a:r>
              <a:rPr lang="nl-NL" dirty="0" err="1"/>
              <a:t>Donec</a:t>
            </a:r>
            <a:r>
              <a:rPr lang="nl-NL" dirty="0"/>
              <a:t> ut </a:t>
            </a:r>
            <a:r>
              <a:rPr lang="nl-NL" dirty="0" err="1"/>
              <a:t>leo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 </a:t>
            </a:r>
            <a:r>
              <a:rPr lang="nl-NL" dirty="0" err="1"/>
              <a:t>porttitor</a:t>
            </a:r>
            <a:r>
              <a:rPr lang="nl-NL" dirty="0"/>
              <a:t> </a:t>
            </a:r>
            <a:r>
              <a:rPr lang="nl-NL" dirty="0" err="1"/>
              <a:t>congue</a:t>
            </a:r>
            <a:r>
              <a:rPr lang="nl-NL" dirty="0"/>
              <a:t>. </a:t>
            </a:r>
            <a:r>
              <a:rPr lang="nl-NL" dirty="0" err="1"/>
              <a:t>Cras</a:t>
            </a:r>
            <a:r>
              <a:rPr lang="nl-NL" dirty="0"/>
              <a:t> </a:t>
            </a:r>
            <a:r>
              <a:rPr lang="nl-NL" dirty="0" err="1"/>
              <a:t>volutpat</a:t>
            </a:r>
            <a:r>
              <a:rPr lang="nl-NL" dirty="0"/>
              <a:t>, </a:t>
            </a:r>
            <a:r>
              <a:rPr lang="nl-NL" dirty="0" err="1"/>
              <a:t>nulla</a:t>
            </a:r>
            <a:r>
              <a:rPr lang="nl-NL" dirty="0"/>
              <a:t> at </a:t>
            </a:r>
            <a:r>
              <a:rPr lang="nl-NL" dirty="0" err="1"/>
              <a:t>pla</a:t>
            </a:r>
            <a:r>
              <a:rPr lang="nl-NL" dirty="0"/>
              <a:t>- </a:t>
            </a:r>
            <a:r>
              <a:rPr lang="nl-NL" dirty="0" err="1"/>
              <a:t>cerat</a:t>
            </a:r>
            <a:r>
              <a:rPr lang="nl-NL" dirty="0"/>
              <a:t> </a:t>
            </a:r>
            <a:r>
              <a:rPr lang="nl-NL" dirty="0" err="1"/>
              <a:t>suscipit</a:t>
            </a:r>
            <a:r>
              <a:rPr lang="nl-NL" dirty="0"/>
              <a:t>,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enim</a:t>
            </a:r>
            <a:r>
              <a:rPr lang="nl-NL" dirty="0"/>
              <a:t> </a:t>
            </a:r>
            <a:r>
              <a:rPr lang="nl-NL" dirty="0" err="1"/>
              <a:t>vulputate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.</a:t>
            </a:r>
          </a:p>
          <a:p>
            <a:endParaRPr lang="nl-NL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DCB7F9B-E13A-B3E0-13BF-CB9F4335C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it is de titel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06ECB363-BEE1-2B95-AABA-8515C1FB5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5" y="1844675"/>
            <a:ext cx="5250466" cy="3240509"/>
          </a:xfrm>
        </p:spPr>
        <p:txBody>
          <a:bodyPr/>
          <a:lstStyle/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Praesent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 </a:t>
            </a:r>
            <a:r>
              <a:rPr lang="nl-NL" dirty="0" err="1"/>
              <a:t>ullamcorper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. Class </a:t>
            </a:r>
            <a:r>
              <a:rPr lang="nl-NL" dirty="0" err="1"/>
              <a:t>aptent</a:t>
            </a:r>
            <a:r>
              <a:rPr lang="nl-NL" dirty="0"/>
              <a:t> </a:t>
            </a:r>
            <a:r>
              <a:rPr lang="nl-NL" dirty="0" err="1"/>
              <a:t>taciti</a:t>
            </a:r>
            <a:r>
              <a:rPr lang="nl-NL" dirty="0"/>
              <a:t> </a:t>
            </a:r>
            <a:r>
              <a:rPr lang="nl-NL" dirty="0" err="1"/>
              <a:t>sociosqu</a:t>
            </a:r>
            <a:r>
              <a:rPr lang="nl-NL" dirty="0"/>
              <a:t> ad </a:t>
            </a:r>
            <a:r>
              <a:rPr lang="nl-NL" dirty="0" err="1"/>
              <a:t>litora</a:t>
            </a:r>
            <a:r>
              <a:rPr lang="nl-NL" dirty="0"/>
              <a:t> </a:t>
            </a:r>
            <a:r>
              <a:rPr lang="nl-NL" dirty="0" err="1"/>
              <a:t>torquent</a:t>
            </a:r>
            <a:r>
              <a:rPr lang="nl-NL" dirty="0"/>
              <a:t> per </a:t>
            </a:r>
            <a:r>
              <a:rPr lang="nl-NL" dirty="0" err="1"/>
              <a:t>conubia</a:t>
            </a:r>
            <a:r>
              <a:rPr lang="nl-NL" dirty="0"/>
              <a:t> </a:t>
            </a:r>
            <a:r>
              <a:rPr lang="nl-NL" dirty="0" err="1"/>
              <a:t>nostra</a:t>
            </a:r>
            <a:r>
              <a:rPr lang="nl-NL" dirty="0"/>
              <a:t>, per </a:t>
            </a:r>
            <a:r>
              <a:rPr lang="nl-NL" dirty="0" err="1"/>
              <a:t>inceptos</a:t>
            </a:r>
            <a:r>
              <a:rPr lang="nl-NL" dirty="0"/>
              <a:t> </a:t>
            </a:r>
            <a:r>
              <a:rPr lang="nl-NL" dirty="0" err="1"/>
              <a:t>himenaeos</a:t>
            </a:r>
            <a:r>
              <a:rPr lang="nl-NL" dirty="0"/>
              <a:t>. Nam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justo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facilisis</a:t>
            </a:r>
            <a:r>
              <a:rPr lang="nl-NL" dirty="0"/>
              <a:t> </a:t>
            </a:r>
            <a:r>
              <a:rPr lang="nl-NL" dirty="0" err="1"/>
              <a:t>imperdiet</a:t>
            </a:r>
            <a:r>
              <a:rPr lang="nl-NL" dirty="0"/>
              <a:t>. </a:t>
            </a:r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sa- </a:t>
            </a:r>
            <a:r>
              <a:rPr lang="nl-NL" dirty="0" err="1"/>
              <a:t>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r>
              <a:rPr lang="nl-NL" dirty="0"/>
              <a:t>, </a:t>
            </a:r>
            <a:r>
              <a:rPr lang="nl-NL" dirty="0" err="1"/>
              <a:t>sodales</a:t>
            </a:r>
            <a:r>
              <a:rPr lang="nl-NL" dirty="0"/>
              <a:t> magna in,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nisi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volutpat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iam</a:t>
            </a:r>
            <a:r>
              <a:rPr lang="nl-NL" dirty="0"/>
              <a:t>, a </a:t>
            </a:r>
            <a:r>
              <a:rPr lang="nl-NL" dirty="0" err="1"/>
              <a:t>consequat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vulputate</a:t>
            </a:r>
            <a:r>
              <a:rPr lang="nl-NL" dirty="0"/>
              <a:t> at.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leo</a:t>
            </a:r>
            <a:r>
              <a:rPr lang="nl-NL" dirty="0"/>
              <a:t> vitae magna </a:t>
            </a:r>
            <a:r>
              <a:rPr lang="nl-NL" dirty="0" err="1"/>
              <a:t>ullamcorper</a:t>
            </a:r>
            <a:r>
              <a:rPr lang="nl-NL" dirty="0"/>
              <a:t> semper. In </a:t>
            </a:r>
            <a:r>
              <a:rPr lang="nl-NL" dirty="0" err="1"/>
              <a:t>augue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, </a:t>
            </a:r>
            <a:r>
              <a:rPr lang="nl-NL" dirty="0" err="1"/>
              <a:t>ornare</a:t>
            </a:r>
            <a:r>
              <a:rPr lang="nl-NL" dirty="0"/>
              <a:t> ut </a:t>
            </a: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, da- </a:t>
            </a:r>
            <a:r>
              <a:rPr lang="nl-NL" dirty="0" err="1"/>
              <a:t>pibus</a:t>
            </a:r>
            <a:r>
              <a:rPr lang="nl-NL" dirty="0"/>
              <a:t>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.</a:t>
            </a:r>
          </a:p>
          <a:p>
            <a:r>
              <a:rPr lang="nl-NL" dirty="0" err="1"/>
              <a:t>Donec</a:t>
            </a:r>
            <a:r>
              <a:rPr lang="nl-NL" dirty="0"/>
              <a:t> ut </a:t>
            </a:r>
            <a:r>
              <a:rPr lang="nl-NL" dirty="0" err="1"/>
              <a:t>leo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 </a:t>
            </a:r>
            <a:r>
              <a:rPr lang="nl-NL" dirty="0" err="1"/>
              <a:t>porttitor</a:t>
            </a:r>
            <a:r>
              <a:rPr lang="nl-NL" dirty="0"/>
              <a:t> </a:t>
            </a:r>
            <a:r>
              <a:rPr lang="nl-NL" dirty="0" err="1"/>
              <a:t>congue</a:t>
            </a:r>
            <a:r>
              <a:rPr lang="nl-NL" dirty="0"/>
              <a:t>. </a:t>
            </a:r>
            <a:r>
              <a:rPr lang="nl-NL" dirty="0" err="1"/>
              <a:t>Cras</a:t>
            </a:r>
            <a:r>
              <a:rPr lang="nl-NL" dirty="0"/>
              <a:t> </a:t>
            </a:r>
            <a:r>
              <a:rPr lang="nl-NL" dirty="0" err="1"/>
              <a:t>volutpat</a:t>
            </a:r>
            <a:r>
              <a:rPr lang="nl-NL" dirty="0"/>
              <a:t>, </a:t>
            </a:r>
            <a:r>
              <a:rPr lang="nl-NL" dirty="0" err="1"/>
              <a:t>nulla</a:t>
            </a:r>
            <a:r>
              <a:rPr lang="nl-NL" dirty="0"/>
              <a:t> at </a:t>
            </a:r>
            <a:r>
              <a:rPr lang="nl-NL" dirty="0" err="1"/>
              <a:t>pla</a:t>
            </a:r>
            <a:r>
              <a:rPr lang="nl-NL" dirty="0"/>
              <a:t>- </a:t>
            </a:r>
            <a:r>
              <a:rPr lang="nl-NL" dirty="0" err="1"/>
              <a:t>cerat</a:t>
            </a:r>
            <a:r>
              <a:rPr lang="nl-NL" dirty="0"/>
              <a:t> </a:t>
            </a:r>
            <a:r>
              <a:rPr lang="nl-NL" dirty="0" err="1"/>
              <a:t>suscipit</a:t>
            </a:r>
            <a:r>
              <a:rPr lang="nl-NL" dirty="0"/>
              <a:t>,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enim</a:t>
            </a:r>
            <a:r>
              <a:rPr lang="nl-NL" dirty="0"/>
              <a:t> </a:t>
            </a:r>
            <a:r>
              <a:rPr lang="nl-NL" dirty="0" err="1"/>
              <a:t>vulputate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.</a:t>
            </a:r>
          </a:p>
          <a:p>
            <a:endParaRPr lang="nl-NL" dirty="0"/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B955ECFD-4F5A-2834-BAEC-704DC9F48A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Dit is de subtit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6C259DD5-3E92-2E52-B862-346F0A4DD2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  <p:sp>
        <p:nvSpPr>
          <p:cNvPr id="5" name="Afgeronde rechthoek 4">
            <a:extLst>
              <a:ext uri="{FF2B5EF4-FFF2-40B4-BE49-F238E27FC236}">
                <a16:creationId xmlns:a16="http://schemas.microsoft.com/office/drawing/2014/main" id="{B42B9D03-6339-E8F6-A8F9-B261613CDBD6}"/>
              </a:ext>
            </a:extLst>
          </p:cNvPr>
          <p:cNvSpPr/>
          <p:nvPr/>
        </p:nvSpPr>
        <p:spPr>
          <a:xfrm>
            <a:off x="623888" y="5233015"/>
            <a:ext cx="3023840" cy="36004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chemeClr val="bg1"/>
                </a:solidFill>
                <a:latin typeface="Titillium Web" pitchFamily="2" charset="77"/>
              </a:rPr>
              <a:t>Ruimte voor tekst</a:t>
            </a:r>
          </a:p>
        </p:txBody>
      </p:sp>
    </p:spTree>
    <p:extLst>
      <p:ext uri="{BB962C8B-B14F-4D97-AF65-F5344CB8AC3E}">
        <p14:creationId xmlns:p14="http://schemas.microsoft.com/office/powerpoint/2010/main" val="262897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210527FF-5813-99BC-F023-48FCABD3E1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1900" y="1844675"/>
            <a:ext cx="5244740" cy="3744913"/>
          </a:xfrm>
          <a:solidFill>
            <a:srgbClr val="CBBAAD">
              <a:alpha val="25000"/>
            </a:srgbClr>
          </a:solidFill>
        </p:spPr>
        <p:txBody>
          <a:bodyPr/>
          <a:lstStyle/>
          <a:p>
            <a:r>
              <a:rPr lang="it-IT" dirty="0" err="1"/>
              <a:t>Vestibulum</a:t>
            </a:r>
            <a:r>
              <a:rPr lang="it-IT" dirty="0"/>
              <a:t> </a:t>
            </a:r>
            <a:r>
              <a:rPr lang="it-IT" dirty="0" err="1"/>
              <a:t>ullamcorper</a:t>
            </a:r>
            <a:r>
              <a:rPr lang="it-IT" dirty="0"/>
              <a:t> </a:t>
            </a:r>
            <a:r>
              <a:rPr lang="it-IT" dirty="0" err="1"/>
              <a:t>semper</a:t>
            </a:r>
            <a:r>
              <a:rPr lang="it-IT" dirty="0"/>
              <a:t> libero et </a:t>
            </a:r>
            <a:r>
              <a:rPr lang="it-IT" dirty="0" err="1"/>
              <a:t>vulputate</a:t>
            </a:r>
            <a:r>
              <a:rPr lang="it-IT" dirty="0"/>
              <a:t>.</a:t>
            </a:r>
          </a:p>
          <a:p>
            <a:pPr lvl="1"/>
            <a:r>
              <a:rPr lang="nl-NL" dirty="0" err="1"/>
              <a:t>Curabitur</a:t>
            </a:r>
            <a:r>
              <a:rPr lang="nl-NL" dirty="0"/>
              <a:t> </a:t>
            </a:r>
            <a:r>
              <a:rPr lang="nl-NL" dirty="0" err="1"/>
              <a:t>bibendum</a:t>
            </a:r>
            <a:r>
              <a:rPr lang="nl-NL" dirty="0"/>
              <a:t> </a:t>
            </a:r>
            <a:r>
              <a:rPr lang="nl-NL" dirty="0" err="1"/>
              <a:t>porttito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</a:t>
            </a: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, </a:t>
            </a:r>
            <a:r>
              <a:rPr lang="nl-NL" dirty="0" err="1"/>
              <a:t>tum</a:t>
            </a:r>
            <a:r>
              <a:rPr lang="nl-NL" dirty="0"/>
              <a:t>. Class </a:t>
            </a:r>
            <a:r>
              <a:rPr lang="nl-NL" dirty="0" err="1"/>
              <a:t>aptent</a:t>
            </a:r>
            <a:r>
              <a:rPr lang="nl-NL" dirty="0"/>
              <a:t> </a:t>
            </a:r>
            <a:r>
              <a:rPr lang="nl-NL" dirty="0" err="1"/>
              <a:t>taciti</a:t>
            </a:r>
            <a:r>
              <a:rPr lang="nl-NL" dirty="0"/>
              <a:t> </a:t>
            </a:r>
            <a:r>
              <a:rPr lang="nl-NL" dirty="0" err="1"/>
              <a:t>sociosqu</a:t>
            </a:r>
            <a:r>
              <a:rPr lang="nl-NL" dirty="0"/>
              <a:t> ad </a:t>
            </a:r>
            <a:r>
              <a:rPr lang="nl-NL" dirty="0" err="1"/>
              <a:t>litora</a:t>
            </a:r>
            <a:r>
              <a:rPr lang="nl-NL" dirty="0"/>
              <a:t> </a:t>
            </a:r>
            <a:r>
              <a:rPr lang="nl-NL" dirty="0" err="1"/>
              <a:t>torquent</a:t>
            </a:r>
            <a:r>
              <a:rPr lang="nl-NL" dirty="0"/>
              <a:t> per </a:t>
            </a:r>
            <a:r>
              <a:rPr lang="nl-NL" dirty="0" err="1"/>
              <a:t>conubia</a:t>
            </a:r>
            <a:r>
              <a:rPr lang="nl-NL" dirty="0"/>
              <a:t> </a:t>
            </a:r>
            <a:r>
              <a:rPr lang="nl-NL" dirty="0" err="1"/>
              <a:t>facilisis</a:t>
            </a:r>
            <a:r>
              <a:rPr lang="nl-NL" dirty="0"/>
              <a:t> </a:t>
            </a:r>
            <a:r>
              <a:rPr lang="nl-NL" dirty="0" err="1"/>
              <a:t>imperdiet</a:t>
            </a:r>
            <a:r>
              <a:rPr lang="nl-NL" dirty="0"/>
              <a:t>.</a:t>
            </a:r>
          </a:p>
          <a:p>
            <a:pPr lvl="2"/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sa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endParaRPr lang="nl-NL" dirty="0"/>
          </a:p>
          <a:p>
            <a:pPr lvl="2"/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sa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endParaRPr lang="nl-NL" dirty="0"/>
          </a:p>
          <a:p>
            <a:pPr lvl="2"/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sa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endParaRPr lang="nl-NL" dirty="0"/>
          </a:p>
          <a:p>
            <a:pPr lvl="1"/>
            <a:r>
              <a:rPr lang="nl-NL" dirty="0" err="1"/>
              <a:t>Donec</a:t>
            </a:r>
            <a:r>
              <a:rPr lang="nl-NL" dirty="0"/>
              <a:t> ut </a:t>
            </a:r>
            <a:r>
              <a:rPr lang="nl-NL" dirty="0" err="1"/>
              <a:t>leo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 </a:t>
            </a:r>
            <a:r>
              <a:rPr lang="nl-NL" dirty="0" err="1"/>
              <a:t>porttitor</a:t>
            </a:r>
            <a:r>
              <a:rPr lang="nl-NL" dirty="0"/>
              <a:t> </a:t>
            </a:r>
            <a:r>
              <a:rPr lang="nl-NL" dirty="0" err="1"/>
              <a:t>congue</a:t>
            </a:r>
            <a:r>
              <a:rPr lang="nl-NL" dirty="0"/>
              <a:t>. </a:t>
            </a:r>
            <a:r>
              <a:rPr lang="nl-NL" dirty="0" err="1"/>
              <a:t>Cras</a:t>
            </a:r>
            <a:r>
              <a:rPr lang="nl-NL" dirty="0"/>
              <a:t> </a:t>
            </a:r>
            <a:r>
              <a:rPr lang="nl-NL" dirty="0" err="1"/>
              <a:t>volutpat</a:t>
            </a:r>
            <a:r>
              <a:rPr lang="nl-NL" dirty="0"/>
              <a:t>, </a:t>
            </a:r>
            <a:r>
              <a:rPr lang="nl-NL" dirty="0" err="1"/>
              <a:t>nulla</a:t>
            </a:r>
            <a:r>
              <a:rPr lang="nl-NL" dirty="0"/>
              <a:t> at </a:t>
            </a:r>
            <a:r>
              <a:rPr lang="nl-NL" dirty="0" err="1"/>
              <a:t>pla</a:t>
            </a:r>
            <a:r>
              <a:rPr lang="nl-NL" dirty="0"/>
              <a:t>- </a:t>
            </a:r>
            <a:r>
              <a:rPr lang="nl-NL" dirty="0" err="1"/>
              <a:t>cerat</a:t>
            </a:r>
            <a:r>
              <a:rPr lang="nl-NL" dirty="0"/>
              <a:t> </a:t>
            </a:r>
            <a:r>
              <a:rPr lang="nl-NL" dirty="0" err="1"/>
              <a:t>suscipit</a:t>
            </a:r>
            <a:r>
              <a:rPr lang="nl-NL" dirty="0"/>
              <a:t>,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enim</a:t>
            </a:r>
            <a:r>
              <a:rPr lang="nl-NL" dirty="0"/>
              <a:t> </a:t>
            </a:r>
            <a:r>
              <a:rPr lang="nl-NL" dirty="0" err="1"/>
              <a:t>vulputate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.</a:t>
            </a:r>
          </a:p>
          <a:p>
            <a:endParaRPr lang="nl-NL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DCB7F9B-E13A-B3E0-13BF-CB9F4335C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it is de titel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06ECB363-BEE1-2B95-AABA-8515C1FB5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635" y="1844675"/>
            <a:ext cx="5250466" cy="3744913"/>
          </a:xfrm>
        </p:spPr>
        <p:txBody>
          <a:bodyPr/>
          <a:lstStyle/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Praesent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 </a:t>
            </a:r>
            <a:r>
              <a:rPr lang="nl-NL" dirty="0" err="1"/>
              <a:t>ullamcorper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. Class </a:t>
            </a:r>
            <a:r>
              <a:rPr lang="nl-NL" dirty="0" err="1"/>
              <a:t>aptent</a:t>
            </a:r>
            <a:r>
              <a:rPr lang="nl-NL" dirty="0"/>
              <a:t> </a:t>
            </a:r>
            <a:r>
              <a:rPr lang="nl-NL" dirty="0" err="1"/>
              <a:t>taciti</a:t>
            </a:r>
            <a:r>
              <a:rPr lang="nl-NL" dirty="0"/>
              <a:t> </a:t>
            </a:r>
            <a:r>
              <a:rPr lang="nl-NL" dirty="0" err="1"/>
              <a:t>sociosqu</a:t>
            </a:r>
            <a:r>
              <a:rPr lang="nl-NL" dirty="0"/>
              <a:t> ad </a:t>
            </a:r>
            <a:r>
              <a:rPr lang="nl-NL" dirty="0" err="1"/>
              <a:t>litora</a:t>
            </a:r>
            <a:r>
              <a:rPr lang="nl-NL" dirty="0"/>
              <a:t> </a:t>
            </a:r>
            <a:r>
              <a:rPr lang="nl-NL" dirty="0" err="1"/>
              <a:t>torquent</a:t>
            </a:r>
            <a:r>
              <a:rPr lang="nl-NL" dirty="0"/>
              <a:t> per </a:t>
            </a:r>
            <a:r>
              <a:rPr lang="nl-NL" dirty="0" err="1"/>
              <a:t>conubia</a:t>
            </a:r>
            <a:r>
              <a:rPr lang="nl-NL" dirty="0"/>
              <a:t> </a:t>
            </a:r>
            <a:r>
              <a:rPr lang="nl-NL" dirty="0" err="1"/>
              <a:t>nostra</a:t>
            </a:r>
            <a:r>
              <a:rPr lang="nl-NL" dirty="0"/>
              <a:t>, per </a:t>
            </a:r>
            <a:r>
              <a:rPr lang="nl-NL" dirty="0" err="1"/>
              <a:t>inceptos</a:t>
            </a:r>
            <a:r>
              <a:rPr lang="nl-NL" dirty="0"/>
              <a:t> </a:t>
            </a:r>
            <a:r>
              <a:rPr lang="nl-NL" dirty="0" err="1"/>
              <a:t>himenaeos</a:t>
            </a:r>
            <a:r>
              <a:rPr lang="nl-NL" dirty="0"/>
              <a:t>. Nam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justo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facilisis</a:t>
            </a:r>
            <a:r>
              <a:rPr lang="nl-NL" dirty="0"/>
              <a:t> </a:t>
            </a:r>
            <a:r>
              <a:rPr lang="nl-NL" dirty="0" err="1"/>
              <a:t>imperdiet</a:t>
            </a:r>
            <a:r>
              <a:rPr lang="nl-NL" dirty="0"/>
              <a:t>. </a:t>
            </a:r>
            <a:r>
              <a:rPr lang="nl-NL" dirty="0" err="1"/>
              <a:t>Suspendiss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sa- </a:t>
            </a:r>
            <a:r>
              <a:rPr lang="nl-NL" dirty="0" err="1"/>
              <a:t>pien</a:t>
            </a:r>
            <a:r>
              <a:rPr lang="nl-NL" dirty="0"/>
              <a:t> </a:t>
            </a:r>
            <a:r>
              <a:rPr lang="nl-NL" dirty="0" err="1"/>
              <a:t>molestie</a:t>
            </a:r>
            <a:r>
              <a:rPr lang="nl-NL" dirty="0"/>
              <a:t>, </a:t>
            </a:r>
            <a:r>
              <a:rPr lang="nl-NL" dirty="0" err="1"/>
              <a:t>sodales</a:t>
            </a:r>
            <a:r>
              <a:rPr lang="nl-NL" dirty="0"/>
              <a:t> magna in,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nisi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volutpat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iam</a:t>
            </a:r>
            <a:r>
              <a:rPr lang="nl-NL" dirty="0"/>
              <a:t>, a </a:t>
            </a:r>
            <a:r>
              <a:rPr lang="nl-NL" dirty="0" err="1"/>
              <a:t>consequat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vulputate</a:t>
            </a:r>
            <a:r>
              <a:rPr lang="nl-NL" dirty="0"/>
              <a:t> at.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leo</a:t>
            </a:r>
            <a:r>
              <a:rPr lang="nl-NL" dirty="0"/>
              <a:t> vitae magna </a:t>
            </a:r>
            <a:r>
              <a:rPr lang="nl-NL" dirty="0" err="1"/>
              <a:t>ullamcorper</a:t>
            </a:r>
            <a:r>
              <a:rPr lang="nl-NL" dirty="0"/>
              <a:t> semper. In </a:t>
            </a:r>
            <a:r>
              <a:rPr lang="nl-NL" dirty="0" err="1"/>
              <a:t>augue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, </a:t>
            </a:r>
            <a:r>
              <a:rPr lang="nl-NL" dirty="0" err="1"/>
              <a:t>ornare</a:t>
            </a:r>
            <a:r>
              <a:rPr lang="nl-NL" dirty="0"/>
              <a:t> ut </a:t>
            </a:r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, da- </a:t>
            </a:r>
            <a:r>
              <a:rPr lang="nl-NL" dirty="0" err="1"/>
              <a:t>pibus</a:t>
            </a:r>
            <a:r>
              <a:rPr lang="nl-NL" dirty="0"/>
              <a:t>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.</a:t>
            </a:r>
          </a:p>
          <a:p>
            <a:r>
              <a:rPr lang="nl-NL" dirty="0" err="1"/>
              <a:t>Donec</a:t>
            </a:r>
            <a:r>
              <a:rPr lang="nl-NL" dirty="0"/>
              <a:t> ut </a:t>
            </a:r>
            <a:r>
              <a:rPr lang="nl-NL" dirty="0" err="1"/>
              <a:t>leo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 </a:t>
            </a:r>
            <a:r>
              <a:rPr lang="nl-NL" dirty="0" err="1"/>
              <a:t>porttitor</a:t>
            </a:r>
            <a:r>
              <a:rPr lang="nl-NL" dirty="0"/>
              <a:t> </a:t>
            </a:r>
            <a:r>
              <a:rPr lang="nl-NL" dirty="0" err="1"/>
              <a:t>congue</a:t>
            </a:r>
            <a:r>
              <a:rPr lang="nl-NL" dirty="0"/>
              <a:t>. </a:t>
            </a:r>
            <a:r>
              <a:rPr lang="nl-NL" dirty="0" err="1"/>
              <a:t>Cras</a:t>
            </a:r>
            <a:r>
              <a:rPr lang="nl-NL" dirty="0"/>
              <a:t> </a:t>
            </a:r>
            <a:r>
              <a:rPr lang="nl-NL" dirty="0" err="1"/>
              <a:t>volutpat</a:t>
            </a:r>
            <a:r>
              <a:rPr lang="nl-NL" dirty="0"/>
              <a:t>, </a:t>
            </a:r>
            <a:r>
              <a:rPr lang="nl-NL" dirty="0" err="1"/>
              <a:t>nulla</a:t>
            </a:r>
            <a:r>
              <a:rPr lang="nl-NL" dirty="0"/>
              <a:t> at </a:t>
            </a:r>
            <a:r>
              <a:rPr lang="nl-NL" dirty="0" err="1"/>
              <a:t>pla</a:t>
            </a:r>
            <a:r>
              <a:rPr lang="nl-NL" dirty="0"/>
              <a:t>- </a:t>
            </a:r>
            <a:r>
              <a:rPr lang="nl-NL" dirty="0" err="1"/>
              <a:t>cerat</a:t>
            </a:r>
            <a:r>
              <a:rPr lang="nl-NL" dirty="0"/>
              <a:t> </a:t>
            </a:r>
            <a:r>
              <a:rPr lang="nl-NL" dirty="0" err="1"/>
              <a:t>suscipit</a:t>
            </a:r>
            <a:r>
              <a:rPr lang="nl-NL" dirty="0"/>
              <a:t>,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enim</a:t>
            </a:r>
            <a:r>
              <a:rPr lang="nl-NL" dirty="0"/>
              <a:t> </a:t>
            </a:r>
            <a:r>
              <a:rPr lang="nl-NL" dirty="0" err="1"/>
              <a:t>vulputate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.</a:t>
            </a:r>
          </a:p>
          <a:p>
            <a:endParaRPr lang="nl-NL" dirty="0"/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B955ECFD-4F5A-2834-BAEC-704DC9F48A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Dit is de subtit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1EF87256-22DD-33ED-57B3-7FC812452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8" y="5565851"/>
            <a:ext cx="1463223" cy="103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65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e2eec4633275bf9d6ddebe6a73bc18acb0e3e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Practoraten 2024 template">
  <a:themeElements>
    <a:clrScheme name="Practoraten">
      <a:dk1>
        <a:sysClr val="windowText" lastClr="000000"/>
      </a:dk1>
      <a:lt1>
        <a:sysClr val="window" lastClr="FFFFFF"/>
      </a:lt1>
      <a:dk2>
        <a:srgbClr val="333333"/>
      </a:dk2>
      <a:lt2>
        <a:srgbClr val="E7E6E6"/>
      </a:lt2>
      <a:accent1>
        <a:srgbClr val="FDC300"/>
      </a:accent1>
      <a:accent2>
        <a:srgbClr val="078A5E"/>
      </a:accent2>
      <a:accent3>
        <a:srgbClr val="333333"/>
      </a:accent3>
      <a:accent4>
        <a:srgbClr val="FDC300"/>
      </a:accent4>
      <a:accent5>
        <a:srgbClr val="078A5E"/>
      </a:accent5>
      <a:accent6>
        <a:srgbClr val="333333"/>
      </a:accent6>
      <a:hlink>
        <a:srgbClr val="000000"/>
      </a:hlink>
      <a:folHlink>
        <a:srgbClr val="000000"/>
      </a:folHlink>
    </a:clrScheme>
    <a:fontScheme name="Aangepast 2">
      <a:majorFont>
        <a:latin typeface="Titillium Web Semi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Open Sans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Open Sans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B5FC14D3017847BCB32D2E70301096" ma:contentTypeVersion="15" ma:contentTypeDescription="Create a new document." ma:contentTypeScope="" ma:versionID="b6035778141d9508098ca8d2c3d20e17">
  <xsd:schema xmlns:xsd="http://www.w3.org/2001/XMLSchema" xmlns:xs="http://www.w3.org/2001/XMLSchema" xmlns:p="http://schemas.microsoft.com/office/2006/metadata/properties" xmlns:ns2="b5002053-e3c1-431f-b7e5-2b1a3836a497" xmlns:ns3="f241a635-f5ff-4b18-abcb-308de56ceef9" targetNamespace="http://schemas.microsoft.com/office/2006/metadata/properties" ma:root="true" ma:fieldsID="d775a7d43c22b014b1e24a6e532866ce" ns2:_="" ns3:_="">
    <xsd:import namespace="b5002053-e3c1-431f-b7e5-2b1a3836a497"/>
    <xsd:import namespace="f241a635-f5ff-4b18-abcb-308de56ceef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002053-e3c1-431f-b7e5-2b1a3836a497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b4d33ff8-e5f8-47b4-9063-3b162a2131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1a635-f5ff-4b18-abcb-308de56ceef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1d464f57-1862-4705-bb88-ec4106733b29}" ma:internalName="TaxCatchAll" ma:showField="CatchAllData" ma:web="f241a635-f5ff-4b18-abcb-308de56cee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1a635-f5ff-4b18-abcb-308de56ceef9" xsi:nil="true"/>
    <lcf76f155ced4ddcb4097134ff3c332f xmlns="b5002053-e3c1-431f-b7e5-2b1a3836a49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497174F-1247-4700-A18B-52A24E9BDB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002053-e3c1-431f-b7e5-2b1a3836a497"/>
    <ds:schemaRef ds:uri="f241a635-f5ff-4b18-abcb-308de56cee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8883D4-FBC4-4C4C-91B3-D27EF67342C9}">
  <ds:schemaRefs>
    <ds:schemaRef ds:uri="http://schemas.microsoft.com/office/2006/metadata/properties"/>
    <ds:schemaRef ds:uri="http://schemas.microsoft.com/office/infopath/2007/PartnerControls"/>
    <ds:schemaRef ds:uri="f241a635-f5ff-4b18-abcb-308de56ceef9"/>
    <ds:schemaRef ds:uri="b5002053-e3c1-431f-b7e5-2b1a3836a497"/>
  </ds:schemaRefs>
</ds:datastoreItem>
</file>

<file path=customXml/itemProps3.xml><?xml version="1.0" encoding="utf-8"?>
<ds:datastoreItem xmlns:ds="http://schemas.openxmlformats.org/officeDocument/2006/customXml" ds:itemID="{C0C5CEB6-15FA-4E8D-88A4-A1C395103A7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5</TotalTime>
  <Words>1079</Words>
  <Application>Microsoft Office PowerPoint</Application>
  <PresentationFormat>Breedbeeld</PresentationFormat>
  <Paragraphs>68</Paragraphs>
  <Slides>12</Slides>
  <Notes>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Diatitels</vt:lpstr>
      </vt:variant>
      <vt:variant>
        <vt:i4>12</vt:i4>
      </vt:variant>
    </vt:vector>
  </HeadingPairs>
  <TitlesOfParts>
    <vt:vector size="18" baseType="lpstr">
      <vt:lpstr>Titillium Web</vt:lpstr>
      <vt:lpstr>Titillium Web SemiBold</vt:lpstr>
      <vt:lpstr>Wingdings</vt:lpstr>
      <vt:lpstr>Open Sans</vt:lpstr>
      <vt:lpstr>Titillium Web Light</vt:lpstr>
      <vt:lpstr>Practoraten 2024 template</vt:lpstr>
      <vt:lpstr>Titel presentatie</vt:lpstr>
      <vt:lpstr>Titel presentatie</vt:lpstr>
      <vt:lpstr>Titel</vt:lpstr>
      <vt:lpstr>PowerPoint-presentatie</vt:lpstr>
      <vt:lpstr>Titel</vt:lpstr>
      <vt:lpstr>Titel</vt:lpstr>
      <vt:lpstr>Dit is de titel</vt:lpstr>
      <vt:lpstr>Dit is de titel</vt:lpstr>
      <vt:lpstr>Dit is de titel</vt:lpstr>
      <vt:lpstr>Titel</vt:lpstr>
      <vt:lpstr>“Ruimte voor  een quote”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Sander Reijn</dc:creator>
  <cp:lastModifiedBy>Dorinde van Helden</cp:lastModifiedBy>
  <cp:revision>61</cp:revision>
  <dcterms:created xsi:type="dcterms:W3CDTF">2018-10-17T17:19:04Z</dcterms:created>
  <dcterms:modified xsi:type="dcterms:W3CDTF">2025-10-22T22:4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076712</vt:lpwstr>
  </property>
  <property fmtid="{D5CDD505-2E9C-101B-9397-08002B2CF9AE}" pid="3" name="NXPowerLiteSettings">
    <vt:lpwstr>C780073804F000</vt:lpwstr>
  </property>
  <property fmtid="{D5CDD505-2E9C-101B-9397-08002B2CF9AE}" pid="4" name="NXPowerLiteVersion">
    <vt:lpwstr>D9.0.4</vt:lpwstr>
  </property>
  <property fmtid="{D5CDD505-2E9C-101B-9397-08002B2CF9AE}" pid="5" name="ContentTypeId">
    <vt:lpwstr>0x010100D8B5FC14D3017847BCB32D2E70301096</vt:lpwstr>
  </property>
  <property fmtid="{D5CDD505-2E9C-101B-9397-08002B2CF9AE}" pid="6" name="MediaServiceImageTags">
    <vt:lpwstr/>
  </property>
</Properties>
</file>